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7"/>
  </p:notesMasterIdLst>
  <p:sldIdLst>
    <p:sldId id="2147482913" r:id="rId3"/>
    <p:sldId id="256" r:id="rId4"/>
    <p:sldId id="263" r:id="rId5"/>
    <p:sldId id="260" r:id="rId6"/>
    <p:sldId id="264" r:id="rId7"/>
    <p:sldId id="258" r:id="rId8"/>
    <p:sldId id="259" r:id="rId9"/>
    <p:sldId id="261" r:id="rId10"/>
    <p:sldId id="262" r:id="rId11"/>
    <p:sldId id="265" r:id="rId12"/>
    <p:sldId id="266" r:id="rId13"/>
    <p:sldId id="2147482911" r:id="rId14"/>
    <p:sldId id="2147482912" r:id="rId15"/>
    <p:sldId id="267"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BA3FD4-8951-46C2-A8F0-F95A62F1FB0C}" v="18" dt="2024-12-29T21:14:04.9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06" autoAdjust="0"/>
    <p:restoredTop sz="94660"/>
  </p:normalViewPr>
  <p:slideViewPr>
    <p:cSldViewPr snapToGrid="0">
      <p:cViewPr>
        <p:scale>
          <a:sx n="70" d="100"/>
          <a:sy n="70" d="100"/>
        </p:scale>
        <p:origin x="825" y="2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hmad Alamm" userId="5761597a20177af5" providerId="LiveId" clId="{C8BA3FD4-8951-46C2-A8F0-F95A62F1FB0C}"/>
    <pc:docChg chg="undo custSel addSld modSld sldOrd">
      <pc:chgData name="Ahmad Alamm" userId="5761597a20177af5" providerId="LiveId" clId="{C8BA3FD4-8951-46C2-A8F0-F95A62F1FB0C}" dt="2024-12-29T21:18:33.334" v="310" actId="1076"/>
      <pc:docMkLst>
        <pc:docMk/>
      </pc:docMkLst>
      <pc:sldChg chg="addSp modSp mod ord">
        <pc:chgData name="Ahmad Alamm" userId="5761597a20177af5" providerId="LiveId" clId="{C8BA3FD4-8951-46C2-A8F0-F95A62F1FB0C}" dt="2024-12-29T21:09:02.171" v="27"/>
        <pc:sldMkLst>
          <pc:docMk/>
          <pc:sldMk cId="398807326" sldId="2147482911"/>
        </pc:sldMkLst>
        <pc:spChg chg="mod">
          <ac:chgData name="Ahmad Alamm" userId="5761597a20177af5" providerId="LiveId" clId="{C8BA3FD4-8951-46C2-A8F0-F95A62F1FB0C}" dt="2024-12-29T21:07:15.443" v="4"/>
          <ac:spMkLst>
            <pc:docMk/>
            <pc:sldMk cId="398807326" sldId="2147482911"/>
            <ac:spMk id="39" creationId="{43AD6248-3A8D-3C64-5936-00A365BD42D0}"/>
          </ac:spMkLst>
        </pc:spChg>
        <pc:spChg chg="mod">
          <ac:chgData name="Ahmad Alamm" userId="5761597a20177af5" providerId="LiveId" clId="{C8BA3FD4-8951-46C2-A8F0-F95A62F1FB0C}" dt="2024-12-29T21:07:29.416" v="7" actId="20577"/>
          <ac:spMkLst>
            <pc:docMk/>
            <pc:sldMk cId="398807326" sldId="2147482911"/>
            <ac:spMk id="47" creationId="{10E0CEE4-ADAC-1A9D-992A-2FBDCE883644}"/>
          </ac:spMkLst>
        </pc:spChg>
        <pc:spChg chg="mod">
          <ac:chgData name="Ahmad Alamm" userId="5761597a20177af5" providerId="LiveId" clId="{C8BA3FD4-8951-46C2-A8F0-F95A62F1FB0C}" dt="2024-12-29T21:08:08.793" v="16"/>
          <ac:spMkLst>
            <pc:docMk/>
            <pc:sldMk cId="398807326" sldId="2147482911"/>
            <ac:spMk id="56" creationId="{CF502787-8FE9-3171-25D3-0E01B815E64D}"/>
          </ac:spMkLst>
        </pc:spChg>
        <pc:spChg chg="mod">
          <ac:chgData name="Ahmad Alamm" userId="5761597a20177af5" providerId="LiveId" clId="{C8BA3FD4-8951-46C2-A8F0-F95A62F1FB0C}" dt="2024-12-29T21:08:56.361" v="25" actId="20577"/>
          <ac:spMkLst>
            <pc:docMk/>
            <pc:sldMk cId="398807326" sldId="2147482911"/>
            <ac:spMk id="57" creationId="{3598B725-F0C6-6944-DC9A-B48075741DDB}"/>
          </ac:spMkLst>
        </pc:spChg>
        <pc:grpChg chg="mod">
          <ac:chgData name="Ahmad Alamm" userId="5761597a20177af5" providerId="LiveId" clId="{C8BA3FD4-8951-46C2-A8F0-F95A62F1FB0C}" dt="2024-12-29T21:07:36.769" v="10" actId="1076"/>
          <ac:grpSpMkLst>
            <pc:docMk/>
            <pc:sldMk cId="398807326" sldId="2147482911"/>
            <ac:grpSpMk id="16" creationId="{A02FCBCA-6DF5-0E81-E0EC-6D0A8D165EB9}"/>
          </ac:grpSpMkLst>
        </pc:grpChg>
        <pc:grpChg chg="mod">
          <ac:chgData name="Ahmad Alamm" userId="5761597a20177af5" providerId="LiveId" clId="{C8BA3FD4-8951-46C2-A8F0-F95A62F1FB0C}" dt="2024-12-29T21:07:15.443" v="4"/>
          <ac:grpSpMkLst>
            <pc:docMk/>
            <pc:sldMk cId="398807326" sldId="2147482911"/>
            <ac:grpSpMk id="38" creationId="{718353FA-F836-1791-9687-66B090578AC9}"/>
          </ac:grpSpMkLst>
        </pc:grpChg>
        <pc:grpChg chg="add mod">
          <ac:chgData name="Ahmad Alamm" userId="5761597a20177af5" providerId="LiveId" clId="{C8BA3FD4-8951-46C2-A8F0-F95A62F1FB0C}" dt="2024-12-29T21:08:08.793" v="16"/>
          <ac:grpSpMkLst>
            <pc:docMk/>
            <pc:sldMk cId="398807326" sldId="2147482911"/>
            <ac:grpSpMk id="52" creationId="{8AC65844-9A4E-F42D-7BEC-227DDFE5D3E7}"/>
          </ac:grpSpMkLst>
        </pc:grpChg>
      </pc:sldChg>
      <pc:sldChg chg="addSp delSp modSp mod">
        <pc:chgData name="Ahmad Alamm" userId="5761597a20177af5" providerId="LiveId" clId="{C8BA3FD4-8951-46C2-A8F0-F95A62F1FB0C}" dt="2024-12-29T21:12:31.646" v="122" actId="12"/>
        <pc:sldMkLst>
          <pc:docMk/>
          <pc:sldMk cId="918042490" sldId="2147482912"/>
        </pc:sldMkLst>
        <pc:spChg chg="mod">
          <ac:chgData name="Ahmad Alamm" userId="5761597a20177af5" providerId="LiveId" clId="{C8BA3FD4-8951-46C2-A8F0-F95A62F1FB0C}" dt="2024-12-29T21:09:54.069" v="33" actId="14100"/>
          <ac:spMkLst>
            <pc:docMk/>
            <pc:sldMk cId="918042490" sldId="2147482912"/>
            <ac:spMk id="3" creationId="{C624D04B-8B2C-36E7-903D-A5D17F4F40F3}"/>
          </ac:spMkLst>
        </pc:spChg>
        <pc:spChg chg="del">
          <ac:chgData name="Ahmad Alamm" userId="5761597a20177af5" providerId="LiveId" clId="{C8BA3FD4-8951-46C2-A8F0-F95A62F1FB0C}" dt="2024-12-29T21:09:47.657" v="32" actId="478"/>
          <ac:spMkLst>
            <pc:docMk/>
            <pc:sldMk cId="918042490" sldId="2147482912"/>
            <ac:spMk id="5" creationId="{BB30025F-45EE-D451-CAD8-ACF7DC0A2C62}"/>
          </ac:spMkLst>
        </pc:spChg>
        <pc:spChg chg="mod">
          <ac:chgData name="Ahmad Alamm" userId="5761597a20177af5" providerId="LiveId" clId="{C8BA3FD4-8951-46C2-A8F0-F95A62F1FB0C}" dt="2024-12-29T21:10:07.040" v="38" actId="14100"/>
          <ac:spMkLst>
            <pc:docMk/>
            <pc:sldMk cId="918042490" sldId="2147482912"/>
            <ac:spMk id="6" creationId="{F6DC857C-37DA-E556-03EC-E5E8E3608E23}"/>
          </ac:spMkLst>
        </pc:spChg>
        <pc:spChg chg="del">
          <ac:chgData name="Ahmad Alamm" userId="5761597a20177af5" providerId="LiveId" clId="{C8BA3FD4-8951-46C2-A8F0-F95A62F1FB0C}" dt="2024-12-29T21:09:55.555" v="34" actId="478"/>
          <ac:spMkLst>
            <pc:docMk/>
            <pc:sldMk cId="918042490" sldId="2147482912"/>
            <ac:spMk id="7" creationId="{B774B316-9DC1-231A-5AF4-39C4E7A8B676}"/>
          </ac:spMkLst>
        </pc:spChg>
        <pc:spChg chg="del">
          <ac:chgData name="Ahmad Alamm" userId="5761597a20177af5" providerId="LiveId" clId="{C8BA3FD4-8951-46C2-A8F0-F95A62F1FB0C}" dt="2024-12-29T21:09:44.911" v="31" actId="478"/>
          <ac:spMkLst>
            <pc:docMk/>
            <pc:sldMk cId="918042490" sldId="2147482912"/>
            <ac:spMk id="8" creationId="{23AB0898-7CB3-D1A8-E3C0-04141511CC16}"/>
          </ac:spMkLst>
        </pc:spChg>
        <pc:spChg chg="mod">
          <ac:chgData name="Ahmad Alamm" userId="5761597a20177af5" providerId="LiveId" clId="{C8BA3FD4-8951-46C2-A8F0-F95A62F1FB0C}" dt="2024-12-29T21:12:05.343" v="94"/>
          <ac:spMkLst>
            <pc:docMk/>
            <pc:sldMk cId="918042490" sldId="2147482912"/>
            <ac:spMk id="9" creationId="{06EC0831-2EE2-FC8D-19CA-B3D34672981A}"/>
          </ac:spMkLst>
        </pc:spChg>
        <pc:spChg chg="del">
          <ac:chgData name="Ahmad Alamm" userId="5761597a20177af5" providerId="LiveId" clId="{C8BA3FD4-8951-46C2-A8F0-F95A62F1FB0C}" dt="2024-12-29T21:11:27.609" v="86" actId="478"/>
          <ac:spMkLst>
            <pc:docMk/>
            <pc:sldMk cId="918042490" sldId="2147482912"/>
            <ac:spMk id="10" creationId="{D634ABCF-8761-3A42-AECD-E3F169A97E40}"/>
          </ac:spMkLst>
        </pc:spChg>
        <pc:spChg chg="del">
          <ac:chgData name="Ahmad Alamm" userId="5761597a20177af5" providerId="LiveId" clId="{C8BA3FD4-8951-46C2-A8F0-F95A62F1FB0C}" dt="2024-12-29T21:09:57.939" v="35" actId="478"/>
          <ac:spMkLst>
            <pc:docMk/>
            <pc:sldMk cId="918042490" sldId="2147482912"/>
            <ac:spMk id="11" creationId="{C07BD517-74E1-7E15-AD1F-FB7829ACE084}"/>
          </ac:spMkLst>
        </pc:spChg>
        <pc:spChg chg="mod">
          <ac:chgData name="Ahmad Alamm" userId="5761597a20177af5" providerId="LiveId" clId="{C8BA3FD4-8951-46C2-A8F0-F95A62F1FB0C}" dt="2024-12-29T21:11:33.338" v="87" actId="164"/>
          <ac:spMkLst>
            <pc:docMk/>
            <pc:sldMk cId="918042490" sldId="2147482912"/>
            <ac:spMk id="13" creationId="{7E8CAEB2-3BEC-7C97-6F3C-0F7EF3545B3C}"/>
          </ac:spMkLst>
        </pc:spChg>
        <pc:spChg chg="mod">
          <ac:chgData name="Ahmad Alamm" userId="5761597a20177af5" providerId="LiveId" clId="{C8BA3FD4-8951-46C2-A8F0-F95A62F1FB0C}" dt="2024-12-29T21:12:31.646" v="122" actId="12"/>
          <ac:spMkLst>
            <pc:docMk/>
            <pc:sldMk cId="918042490" sldId="2147482912"/>
            <ac:spMk id="17" creationId="{CB5447EC-7B74-C999-34F1-1D3ECE3FDE47}"/>
          </ac:spMkLst>
        </pc:spChg>
        <pc:spChg chg="del">
          <ac:chgData name="Ahmad Alamm" userId="5761597a20177af5" providerId="LiveId" clId="{C8BA3FD4-8951-46C2-A8F0-F95A62F1FB0C}" dt="2024-12-29T21:09:39.391" v="29" actId="478"/>
          <ac:spMkLst>
            <pc:docMk/>
            <pc:sldMk cId="918042490" sldId="2147482912"/>
            <ac:spMk id="22" creationId="{8B200A13-D209-2425-8610-1833955D978E}"/>
          </ac:spMkLst>
        </pc:spChg>
        <pc:spChg chg="mod">
          <ac:chgData name="Ahmad Alamm" userId="5761597a20177af5" providerId="LiveId" clId="{C8BA3FD4-8951-46C2-A8F0-F95A62F1FB0C}" dt="2024-12-29T21:11:33.338" v="87" actId="164"/>
          <ac:spMkLst>
            <pc:docMk/>
            <pc:sldMk cId="918042490" sldId="2147482912"/>
            <ac:spMk id="26" creationId="{F28A0612-5803-3803-F1F8-98C6B7719659}"/>
          </ac:spMkLst>
        </pc:spChg>
        <pc:spChg chg="del">
          <ac:chgData name="Ahmad Alamm" userId="5761597a20177af5" providerId="LiveId" clId="{C8BA3FD4-8951-46C2-A8F0-F95A62F1FB0C}" dt="2024-12-29T21:09:35.621" v="28" actId="478"/>
          <ac:spMkLst>
            <pc:docMk/>
            <pc:sldMk cId="918042490" sldId="2147482912"/>
            <ac:spMk id="33" creationId="{2C869D99-4443-B9C9-FA1A-4DD4EC5C4509}"/>
          </ac:spMkLst>
        </pc:spChg>
        <pc:spChg chg="del">
          <ac:chgData name="Ahmad Alamm" userId="5761597a20177af5" providerId="LiveId" clId="{C8BA3FD4-8951-46C2-A8F0-F95A62F1FB0C}" dt="2024-12-29T21:09:35.621" v="28" actId="478"/>
          <ac:spMkLst>
            <pc:docMk/>
            <pc:sldMk cId="918042490" sldId="2147482912"/>
            <ac:spMk id="139" creationId="{4AB83578-69AC-36F8-9FA9-81D24D2C1087}"/>
          </ac:spMkLst>
        </pc:spChg>
        <pc:spChg chg="del">
          <ac:chgData name="Ahmad Alamm" userId="5761597a20177af5" providerId="LiveId" clId="{C8BA3FD4-8951-46C2-A8F0-F95A62F1FB0C}" dt="2024-12-29T21:09:35.621" v="28" actId="478"/>
          <ac:spMkLst>
            <pc:docMk/>
            <pc:sldMk cId="918042490" sldId="2147482912"/>
            <ac:spMk id="169" creationId="{625E338C-AC4F-D416-BCAD-ADAE300F8EA1}"/>
          </ac:spMkLst>
        </pc:spChg>
        <pc:grpChg chg="add mod">
          <ac:chgData name="Ahmad Alamm" userId="5761597a20177af5" providerId="LiveId" clId="{C8BA3FD4-8951-46C2-A8F0-F95A62F1FB0C}" dt="2024-12-29T21:11:33.338" v="87" actId="164"/>
          <ac:grpSpMkLst>
            <pc:docMk/>
            <pc:sldMk cId="918042490" sldId="2147482912"/>
            <ac:grpSpMk id="2" creationId="{A5A119F9-9760-7350-FDAA-814CFC36C106}"/>
          </ac:grpSpMkLst>
        </pc:grpChg>
        <pc:grpChg chg="add mod">
          <ac:chgData name="Ahmad Alamm" userId="5761597a20177af5" providerId="LiveId" clId="{C8BA3FD4-8951-46C2-A8F0-F95A62F1FB0C}" dt="2024-12-29T21:12:05.343" v="94"/>
          <ac:grpSpMkLst>
            <pc:docMk/>
            <pc:sldMk cId="918042490" sldId="2147482912"/>
            <ac:grpSpMk id="4" creationId="{BE89A068-0A40-5584-3B88-5C8E87ECA220}"/>
          </ac:grpSpMkLst>
        </pc:grpChg>
        <pc:grpChg chg="del">
          <ac:chgData name="Ahmad Alamm" userId="5761597a20177af5" providerId="LiveId" clId="{C8BA3FD4-8951-46C2-A8F0-F95A62F1FB0C}" dt="2024-12-29T21:09:43.536" v="30" actId="478"/>
          <ac:grpSpMkLst>
            <pc:docMk/>
            <pc:sldMk cId="918042490" sldId="2147482912"/>
            <ac:grpSpMk id="15" creationId="{5BAF0E0A-E49F-FAB5-D7F7-DEB47EEA23BE}"/>
          </ac:grpSpMkLst>
        </pc:grpChg>
        <pc:grpChg chg="mod">
          <ac:chgData name="Ahmad Alamm" userId="5761597a20177af5" providerId="LiveId" clId="{C8BA3FD4-8951-46C2-A8F0-F95A62F1FB0C}" dt="2024-12-29T21:11:38.279" v="90" actId="1076"/>
          <ac:grpSpMkLst>
            <pc:docMk/>
            <pc:sldMk cId="918042490" sldId="2147482912"/>
            <ac:grpSpMk id="16" creationId="{3F56F345-411F-4CA6-F2C8-8A30D6E83DEC}"/>
          </ac:grpSpMkLst>
        </pc:grpChg>
        <pc:grpChg chg="del">
          <ac:chgData name="Ahmad Alamm" userId="5761597a20177af5" providerId="LiveId" clId="{C8BA3FD4-8951-46C2-A8F0-F95A62F1FB0C}" dt="2024-12-29T21:09:43.536" v="30" actId="478"/>
          <ac:grpSpMkLst>
            <pc:docMk/>
            <pc:sldMk cId="918042490" sldId="2147482912"/>
            <ac:grpSpMk id="34" creationId="{32F6EA4B-113B-4C69-05D8-5B0C61C64850}"/>
          </ac:grpSpMkLst>
        </pc:grpChg>
        <pc:grpChg chg="del">
          <ac:chgData name="Ahmad Alamm" userId="5761597a20177af5" providerId="LiveId" clId="{C8BA3FD4-8951-46C2-A8F0-F95A62F1FB0C}" dt="2024-12-29T21:09:43.536" v="30" actId="478"/>
          <ac:grpSpMkLst>
            <pc:docMk/>
            <pc:sldMk cId="918042490" sldId="2147482912"/>
            <ac:grpSpMk id="38" creationId="{547BFEE8-98FF-F732-77AB-A2FF63A45FE7}"/>
          </ac:grpSpMkLst>
        </pc:grpChg>
        <pc:grpChg chg="del">
          <ac:chgData name="Ahmad Alamm" userId="5761597a20177af5" providerId="LiveId" clId="{C8BA3FD4-8951-46C2-A8F0-F95A62F1FB0C}" dt="2024-12-29T21:09:43.536" v="30" actId="478"/>
          <ac:grpSpMkLst>
            <pc:docMk/>
            <pc:sldMk cId="918042490" sldId="2147482912"/>
            <ac:grpSpMk id="52" creationId="{FBC49980-A30F-2829-1A63-CF0BF53A9195}"/>
          </ac:grpSpMkLst>
        </pc:grpChg>
      </pc:sldChg>
      <pc:sldChg chg="addSp delSp modSp new mod">
        <pc:chgData name="Ahmad Alamm" userId="5761597a20177af5" providerId="LiveId" clId="{C8BA3FD4-8951-46C2-A8F0-F95A62F1FB0C}" dt="2024-12-29T21:18:33.334" v="310" actId="1076"/>
        <pc:sldMkLst>
          <pc:docMk/>
          <pc:sldMk cId="2186849921" sldId="2147482913"/>
        </pc:sldMkLst>
        <pc:spChg chg="del">
          <ac:chgData name="Ahmad Alamm" userId="5761597a20177af5" providerId="LiveId" clId="{C8BA3FD4-8951-46C2-A8F0-F95A62F1FB0C}" dt="2024-12-29T21:12:54.153" v="124" actId="478"/>
          <ac:spMkLst>
            <pc:docMk/>
            <pc:sldMk cId="2186849921" sldId="2147482913"/>
            <ac:spMk id="2" creationId="{0C106A24-21A7-163F-69D4-9643325D2D05}"/>
          </ac:spMkLst>
        </pc:spChg>
        <pc:spChg chg="del">
          <ac:chgData name="Ahmad Alamm" userId="5761597a20177af5" providerId="LiveId" clId="{C8BA3FD4-8951-46C2-A8F0-F95A62F1FB0C}" dt="2024-12-29T21:12:55.502" v="125" actId="478"/>
          <ac:spMkLst>
            <pc:docMk/>
            <pc:sldMk cId="2186849921" sldId="2147482913"/>
            <ac:spMk id="3" creationId="{94381598-F623-368B-4707-69463568C894}"/>
          </ac:spMkLst>
        </pc:spChg>
        <pc:picChg chg="add mod">
          <ac:chgData name="Ahmad Alamm" userId="5761597a20177af5" providerId="LiveId" clId="{C8BA3FD4-8951-46C2-A8F0-F95A62F1FB0C}" dt="2024-12-29T21:17:44.066" v="254" actId="1038"/>
          <ac:picMkLst>
            <pc:docMk/>
            <pc:sldMk cId="2186849921" sldId="2147482913"/>
            <ac:picMk id="4" creationId="{EC5D7BC8-9910-088E-3F42-44EE5F699CC2}"/>
          </ac:picMkLst>
        </pc:picChg>
        <pc:picChg chg="add mod">
          <ac:chgData name="Ahmad Alamm" userId="5761597a20177af5" providerId="LiveId" clId="{C8BA3FD4-8951-46C2-A8F0-F95A62F1FB0C}" dt="2024-12-29T21:17:44.066" v="254" actId="1038"/>
          <ac:picMkLst>
            <pc:docMk/>
            <pc:sldMk cId="2186849921" sldId="2147482913"/>
            <ac:picMk id="5" creationId="{2C0845C4-93A2-0B71-254B-917ACFEC35E1}"/>
          </ac:picMkLst>
        </pc:picChg>
        <pc:picChg chg="add mod">
          <ac:chgData name="Ahmad Alamm" userId="5761597a20177af5" providerId="LiveId" clId="{C8BA3FD4-8951-46C2-A8F0-F95A62F1FB0C}" dt="2024-12-29T21:17:44.066" v="254" actId="1038"/>
          <ac:picMkLst>
            <pc:docMk/>
            <pc:sldMk cId="2186849921" sldId="2147482913"/>
            <ac:picMk id="6" creationId="{BFB8A301-A034-BD79-03FE-6C383B87B641}"/>
          </ac:picMkLst>
        </pc:picChg>
        <pc:picChg chg="add mod">
          <ac:chgData name="Ahmad Alamm" userId="5761597a20177af5" providerId="LiveId" clId="{C8BA3FD4-8951-46C2-A8F0-F95A62F1FB0C}" dt="2024-12-29T21:18:02.458" v="299" actId="1036"/>
          <ac:picMkLst>
            <pc:docMk/>
            <pc:sldMk cId="2186849921" sldId="2147482913"/>
            <ac:picMk id="7" creationId="{2EE95C20-D666-2C14-B2AA-66F64A8F8E2A}"/>
          </ac:picMkLst>
        </pc:picChg>
        <pc:picChg chg="add mod">
          <ac:chgData name="Ahmad Alamm" userId="5761597a20177af5" providerId="LiveId" clId="{C8BA3FD4-8951-46C2-A8F0-F95A62F1FB0C}" dt="2024-12-29T21:18:02.458" v="299" actId="1036"/>
          <ac:picMkLst>
            <pc:docMk/>
            <pc:sldMk cId="2186849921" sldId="2147482913"/>
            <ac:picMk id="8" creationId="{39F217DF-27C0-1057-8898-52AA55FE977B}"/>
          </ac:picMkLst>
        </pc:picChg>
        <pc:picChg chg="add mod">
          <ac:chgData name="Ahmad Alamm" userId="5761597a20177af5" providerId="LiveId" clId="{C8BA3FD4-8951-46C2-A8F0-F95A62F1FB0C}" dt="2024-12-29T21:18:02.458" v="299" actId="1036"/>
          <ac:picMkLst>
            <pc:docMk/>
            <pc:sldMk cId="2186849921" sldId="2147482913"/>
            <ac:picMk id="9" creationId="{6417371D-0797-67E4-F9FB-B609EB9A70E9}"/>
          </ac:picMkLst>
        </pc:picChg>
        <pc:picChg chg="add mod">
          <ac:chgData name="Ahmad Alamm" userId="5761597a20177af5" providerId="LiveId" clId="{C8BA3FD4-8951-46C2-A8F0-F95A62F1FB0C}" dt="2024-12-29T21:18:15.618" v="303" actId="1076"/>
          <ac:picMkLst>
            <pc:docMk/>
            <pc:sldMk cId="2186849921" sldId="2147482913"/>
            <ac:picMk id="10" creationId="{E089D7F5-4D04-5607-3875-BCD16E52C725}"/>
          </ac:picMkLst>
        </pc:picChg>
        <pc:picChg chg="add mod">
          <ac:chgData name="Ahmad Alamm" userId="5761597a20177af5" providerId="LiveId" clId="{C8BA3FD4-8951-46C2-A8F0-F95A62F1FB0C}" dt="2024-12-29T21:18:19.559" v="304" actId="1076"/>
          <ac:picMkLst>
            <pc:docMk/>
            <pc:sldMk cId="2186849921" sldId="2147482913"/>
            <ac:picMk id="11" creationId="{DD1C5DFD-0E75-CAC7-7D2C-40A9F2659821}"/>
          </ac:picMkLst>
        </pc:picChg>
        <pc:picChg chg="add mod">
          <ac:chgData name="Ahmad Alamm" userId="5761597a20177af5" providerId="LiveId" clId="{C8BA3FD4-8951-46C2-A8F0-F95A62F1FB0C}" dt="2024-12-29T21:18:26.739" v="307" actId="1076"/>
          <ac:picMkLst>
            <pc:docMk/>
            <pc:sldMk cId="2186849921" sldId="2147482913"/>
            <ac:picMk id="12" creationId="{5B3E22FD-C580-73E3-1BFD-0D1D1A347790}"/>
          </ac:picMkLst>
        </pc:picChg>
        <pc:picChg chg="add mod">
          <ac:chgData name="Ahmad Alamm" userId="5761597a20177af5" providerId="LiveId" clId="{C8BA3FD4-8951-46C2-A8F0-F95A62F1FB0C}" dt="2024-12-29T21:18:33.334" v="310" actId="1076"/>
          <ac:picMkLst>
            <pc:docMk/>
            <pc:sldMk cId="2186849921" sldId="2147482913"/>
            <ac:picMk id="13" creationId="{EBD9CFDE-C991-E96C-4DFC-B83CDA1FA7F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FA19F0-9762-466D-B187-E5E6451252DA}" type="datetimeFigureOut">
              <a:rPr lang="en-US" smtClean="0"/>
              <a:t>12/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7D3272-3993-42CC-AB0B-32A8C62349F2}" type="slidenum">
              <a:rPr lang="en-US" smtClean="0"/>
              <a:t>‹#›</a:t>
            </a:fld>
            <a:endParaRPr lang="en-US"/>
          </a:p>
        </p:txBody>
      </p:sp>
    </p:spTree>
    <p:extLst>
      <p:ext uri="{BB962C8B-B14F-4D97-AF65-F5344CB8AC3E}">
        <p14:creationId xmlns:p14="http://schemas.microsoft.com/office/powerpoint/2010/main" val="11876853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38614-FA87-1931-AA7D-1FD0FA0E91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F13C80-E1CA-426C-C59B-1523C618D2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FB9CF-534B-7243-8E11-C9A5D3B8AE5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9494E3C-1610-E4FE-E27A-D55725595F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FF1BF6-A8E6-436D-A1F2-D77953E75C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14766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783DF-CFA3-FEEB-BD6B-9C67BF4E51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D01422-C58F-6882-01B3-E3A8B79994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84A98B-E1CC-8B61-9061-D927D6033C4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F3891AF-0CBD-228C-E1DF-0014B7B5CE1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FF1BF6-A8E6-436D-A1F2-D77953E75C3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44356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9EAED-4159-EEDD-B61B-2652C345A0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363E4FA-E801-8FD5-A37E-3A3348304A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14C9516-A8B1-F72B-3F35-8FA391606E07}"/>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5" name="Footer Placeholder 4">
            <a:extLst>
              <a:ext uri="{FF2B5EF4-FFF2-40B4-BE49-F238E27FC236}">
                <a16:creationId xmlns:a16="http://schemas.microsoft.com/office/drawing/2014/main" id="{CD46E66C-D727-89F1-A4C1-89C226329E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F101BB-B93E-1537-505A-6620986BE0A0}"/>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35297262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E0240-03B6-EF6C-62F2-8B67A0F4C02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551DB8-91B1-806A-545C-99469B6444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68A303-6961-A49C-340F-9145B3E86F15}"/>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5" name="Footer Placeholder 4">
            <a:extLst>
              <a:ext uri="{FF2B5EF4-FFF2-40B4-BE49-F238E27FC236}">
                <a16:creationId xmlns:a16="http://schemas.microsoft.com/office/drawing/2014/main" id="{D50D94E4-2360-F6CE-BEDF-925424860F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4DCBAE-3F75-34D9-845B-719E89F30432}"/>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36512122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B51715-9479-13F6-C806-70B08E13E40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F5F62F-23EE-B657-8A0E-C868CA9762E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D51F2B-FF6B-58FA-2A52-0716D1D973BA}"/>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5" name="Footer Placeholder 4">
            <a:extLst>
              <a:ext uri="{FF2B5EF4-FFF2-40B4-BE49-F238E27FC236}">
                <a16:creationId xmlns:a16="http://schemas.microsoft.com/office/drawing/2014/main" id="{323549B2-CAD2-182C-DC67-305A0CC208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E23334-9C17-35B6-C4E1-8A34FC9C889D}"/>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4272003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09694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7625CD-4BD3-476C-8CCB-A355E4470ABC}"/>
              </a:ext>
            </a:extLst>
          </p:cNvPr>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a:extLst>
                          <a:ext uri="{FF2B5EF4-FFF2-40B4-BE49-F238E27FC236}">
                            <a16:creationId xmlns:a16="http://schemas.microsoft.com/office/drawing/2014/main" id="{8D7625CD-4BD3-476C-8CCB-A355E4470ABC}"/>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041539-0E90-4D5C-BCBC-070DE1EED005}"/>
              </a:ext>
            </a:extLst>
          </p:cNvPr>
          <p:cNvSpPr/>
          <p:nvPr userDrawn="1">
            <p:custDataLst>
              <p:tags r:id="rId2"/>
            </p:custDataLst>
          </p:nvPr>
        </p:nvSpPr>
        <p:spPr>
          <a:xfrm>
            <a:off x="2"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stStyle>
          <a:p>
            <a:pPr marL="0" lvl="0" indent="0" algn="ctr" rtl="0" eaLnBrk="1">
              <a:lnSpc>
                <a:spcPct val="90000"/>
              </a:lnSpc>
              <a:spcBef>
                <a:spcPct val="0"/>
              </a:spcBef>
              <a:spcAft>
                <a:spcPct val="0"/>
              </a:spcAft>
            </a:pP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4" name="1 Shape Name"/>
          <p:cNvSpPr>
            <a:spLocks noGrp="1"/>
          </p:cNvSpPr>
          <p:nvPr>
            <p:ph type="title"/>
          </p:nvPr>
        </p:nvSpPr>
        <p:spPr>
          <a:prstGeom prst="rect">
            <a:avLst/>
          </a:prstGeom>
        </p:spPr>
        <p:txBody>
          <a:bodyPr/>
          <a:lstStyle/>
          <a:p>
            <a:endParaRPr/>
          </a:p>
        </p:txBody>
      </p:sp>
    </p:spTree>
    <p:extLst>
      <p:ext uri="{BB962C8B-B14F-4D97-AF65-F5344CB8AC3E}">
        <p14:creationId xmlns:p14="http://schemas.microsoft.com/office/powerpoint/2010/main" val="30268171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0E738-30A9-FB1C-5516-6DDB953227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04F025-F09E-18E2-6676-DBCC298956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51E8A4-09F5-5EC6-A26F-0D5D6B67BA5A}"/>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5" name="Footer Placeholder 4">
            <a:extLst>
              <a:ext uri="{FF2B5EF4-FFF2-40B4-BE49-F238E27FC236}">
                <a16:creationId xmlns:a16="http://schemas.microsoft.com/office/drawing/2014/main" id="{EFCEB679-10A3-9897-1F72-68AF848BE7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923741-808A-62F2-4BCF-8FB786AEA812}"/>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2340922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F18C9-4A1F-BC29-2063-395E2A8852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7E8F91C-D93E-2EC9-03C5-104E95AAC7D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C379814-50CE-8810-E6D0-A232E1100306}"/>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5" name="Footer Placeholder 4">
            <a:extLst>
              <a:ext uri="{FF2B5EF4-FFF2-40B4-BE49-F238E27FC236}">
                <a16:creationId xmlns:a16="http://schemas.microsoft.com/office/drawing/2014/main" id="{F275831A-CCE0-0C39-47E2-9387BDA2B0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001A52-625C-4339-7DA2-B728424F0E41}"/>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2054553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21787-E30F-DA61-6F65-5B9CF76A9A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8D89FD-756E-F783-BA45-E19B1F8BE32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1D09ED-DA18-8520-7127-16A622BF04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DA13D1-B9BD-95F4-C13E-D689AD3E9374}"/>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6" name="Footer Placeholder 5">
            <a:extLst>
              <a:ext uri="{FF2B5EF4-FFF2-40B4-BE49-F238E27FC236}">
                <a16:creationId xmlns:a16="http://schemas.microsoft.com/office/drawing/2014/main" id="{6FB74F0F-7B41-C22E-CF96-3A063C9D8C2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9A71DC-9E62-FDB0-882E-E9CEE2BA7B12}"/>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1463803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BCB1A-996E-D4E2-AFEA-090190505E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9D111E7-1EF8-3B62-C391-F6949D7DE1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2215B40-CB3D-EC3D-B1E3-1BC6855061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C08233-80B7-6424-ED08-847453E23C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8D64C4-29A6-81C3-492C-9885738F47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77A0E32-150F-CEEC-2D76-1D8F23F3BF32}"/>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8" name="Footer Placeholder 7">
            <a:extLst>
              <a:ext uri="{FF2B5EF4-FFF2-40B4-BE49-F238E27FC236}">
                <a16:creationId xmlns:a16="http://schemas.microsoft.com/office/drawing/2014/main" id="{E5EA0B3F-5DE5-C7BE-AEE5-ADE47A4C560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88FEEC9-F8ED-B194-C2FC-07579FFF5354}"/>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437926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42B2D-3F3A-B57C-4091-DB2D6E0E4C0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B7B9794-38DE-646F-A861-726CA7503159}"/>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4" name="Footer Placeholder 3">
            <a:extLst>
              <a:ext uri="{FF2B5EF4-FFF2-40B4-BE49-F238E27FC236}">
                <a16:creationId xmlns:a16="http://schemas.microsoft.com/office/drawing/2014/main" id="{6CE1E8F2-9D77-7C11-76CE-0D0855F8E34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100B82B-62C3-4C06-B497-C131B9826DF3}"/>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982969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78D761-BACB-07BF-6F2D-F1DB5999962B}"/>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3" name="Footer Placeholder 2">
            <a:extLst>
              <a:ext uri="{FF2B5EF4-FFF2-40B4-BE49-F238E27FC236}">
                <a16:creationId xmlns:a16="http://schemas.microsoft.com/office/drawing/2014/main" id="{E3323D27-2B73-9DAE-C988-F5CBC84D5F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1E0569C-1EFD-E5ED-367B-100B2FF65599}"/>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29669207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EC0B9-75A3-0BCE-6AF4-81171249E3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30650DC-C402-98FA-72A7-B8AA171694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8B50AA-66B1-980A-EC5A-DD59271D39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F844B65-952E-5B02-4594-36B231403EB8}"/>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6" name="Footer Placeholder 5">
            <a:extLst>
              <a:ext uri="{FF2B5EF4-FFF2-40B4-BE49-F238E27FC236}">
                <a16:creationId xmlns:a16="http://schemas.microsoft.com/office/drawing/2014/main" id="{01E354E4-E338-D00C-01C7-C22BA01DCE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1222D5-F1BD-01DA-94F1-9828AC7AF4B4}"/>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3036620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E654-FEE4-7EF5-E1FB-5A13CCFD33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EFD58B8-3FFA-951F-D325-2E39953918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8871E6F-CE34-F720-4C98-E6B061C628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DB8D517-F791-0DF2-E3B8-34588ACFFFFE}"/>
              </a:ext>
            </a:extLst>
          </p:cNvPr>
          <p:cNvSpPr>
            <a:spLocks noGrp="1"/>
          </p:cNvSpPr>
          <p:nvPr>
            <p:ph type="dt" sz="half" idx="10"/>
          </p:nvPr>
        </p:nvSpPr>
        <p:spPr/>
        <p:txBody>
          <a:bodyPr/>
          <a:lstStyle/>
          <a:p>
            <a:fld id="{9244ED82-8D0E-465F-A23D-274D56CC668D}" type="datetimeFigureOut">
              <a:rPr lang="en-US" smtClean="0"/>
              <a:t>12/29/2024</a:t>
            </a:fld>
            <a:endParaRPr lang="en-US"/>
          </a:p>
        </p:txBody>
      </p:sp>
      <p:sp>
        <p:nvSpPr>
          <p:cNvPr id="6" name="Footer Placeholder 5">
            <a:extLst>
              <a:ext uri="{FF2B5EF4-FFF2-40B4-BE49-F238E27FC236}">
                <a16:creationId xmlns:a16="http://schemas.microsoft.com/office/drawing/2014/main" id="{7032E5CA-11DD-F11C-6037-AB95488C31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96B10D-8729-E2E1-5C11-52B43D7A85E3}"/>
              </a:ext>
            </a:extLst>
          </p:cNvPr>
          <p:cNvSpPr>
            <a:spLocks noGrp="1"/>
          </p:cNvSpPr>
          <p:nvPr>
            <p:ph type="sldNum" sz="quarter" idx="12"/>
          </p:nvPr>
        </p:nvSpPr>
        <p:spPr/>
        <p:txBody>
          <a:bodyPr/>
          <a:lstStyle/>
          <a:p>
            <a:fld id="{18526ECC-2C17-4539-A265-75CC3FECB476}" type="slidenum">
              <a:rPr lang="en-US" smtClean="0"/>
              <a:t>‹#›</a:t>
            </a:fld>
            <a:endParaRPr lang="en-US"/>
          </a:p>
        </p:txBody>
      </p:sp>
    </p:spTree>
    <p:extLst>
      <p:ext uri="{BB962C8B-B14F-4D97-AF65-F5344CB8AC3E}">
        <p14:creationId xmlns:p14="http://schemas.microsoft.com/office/powerpoint/2010/main" val="3154705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E490D1-76AC-0B32-6A42-2E3DA84146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A73E9F-2C72-9CB9-33D9-5FE499C689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9A5B96-85C5-AF1C-50E1-9CBDFC12F7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244ED82-8D0E-465F-A23D-274D56CC668D}" type="datetimeFigureOut">
              <a:rPr lang="en-US" smtClean="0"/>
              <a:t>12/29/2024</a:t>
            </a:fld>
            <a:endParaRPr lang="en-US"/>
          </a:p>
        </p:txBody>
      </p:sp>
      <p:sp>
        <p:nvSpPr>
          <p:cNvPr id="5" name="Footer Placeholder 4">
            <a:extLst>
              <a:ext uri="{FF2B5EF4-FFF2-40B4-BE49-F238E27FC236}">
                <a16:creationId xmlns:a16="http://schemas.microsoft.com/office/drawing/2014/main" id="{4F8593F2-D94E-27F7-F7C3-C550E64C34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7BEC5AB-56D1-1EE4-A7A6-4B3A86805E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8526ECC-2C17-4539-A265-75CC3FECB476}" type="slidenum">
              <a:rPr lang="en-US" smtClean="0"/>
              <a:t>‹#›</a:t>
            </a:fld>
            <a:endParaRPr lang="en-US"/>
          </a:p>
        </p:txBody>
      </p:sp>
    </p:spTree>
    <p:extLst>
      <p:ext uri="{BB962C8B-B14F-4D97-AF65-F5344CB8AC3E}">
        <p14:creationId xmlns:p14="http://schemas.microsoft.com/office/powerpoint/2010/main" val="37793781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3711"/>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FF202A2-D060-CD3C-72E2-9158790150AE}"/>
              </a:ext>
            </a:extLst>
          </p:cNvPr>
          <p:cNvGraphicFramePr>
            <a:graphicFrameLocks noChangeAspect="1"/>
          </p:cNvGraphicFramePr>
          <p:nvPr userDrawn="1">
            <p:custDataLst>
              <p:tags r:id="rId4"/>
            </p:custDataLst>
            <p:extLst>
              <p:ext uri="{D42A27DB-BD31-4B8C-83A1-F6EECF244321}">
                <p14:modId xmlns:p14="http://schemas.microsoft.com/office/powerpoint/2010/main" val="2343483031"/>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think-cell data - do not delete" hidden="1">
                        <a:extLst>
                          <a:ext uri="{FF2B5EF4-FFF2-40B4-BE49-F238E27FC236}">
                            <a16:creationId xmlns:a16="http://schemas.microsoft.com/office/drawing/2014/main" id="{5FF202A2-D060-CD3C-72E2-9158790150AE}"/>
                          </a:ext>
                        </a:extLst>
                      </p:cNvPr>
                      <p:cNvPicPr/>
                      <p:nvPr/>
                    </p:nvPicPr>
                    <p:blipFill>
                      <a:blip r:embed="rId6"/>
                      <a:stretch>
                        <a:fillRect/>
                      </a:stretch>
                    </p:blipFill>
                    <p:spPr>
                      <a:xfrm>
                        <a:off x="794" y="794"/>
                        <a:ext cx="794" cy="794"/>
                      </a:xfrm>
                      <a:prstGeom prst="rect">
                        <a:avLst/>
                      </a:prstGeom>
                    </p:spPr>
                  </p:pic>
                </p:oleObj>
              </mc:Fallback>
            </mc:AlternateContent>
          </a:graphicData>
        </a:graphic>
      </p:graphicFrame>
      <p:sp>
        <p:nvSpPr>
          <p:cNvPr id="3712" name="Google Shape;3712;p465"/>
          <p:cNvSpPr txBox="1">
            <a:spLocks noGrp="1"/>
          </p:cNvSpPr>
          <p:nvPr>
            <p:ph type="title"/>
          </p:nvPr>
        </p:nvSpPr>
        <p:spPr>
          <a:xfrm>
            <a:off x="364734" y="364734"/>
            <a:ext cx="11461650" cy="1153950"/>
          </a:xfrm>
          <a:prstGeom prst="rect">
            <a:avLst/>
          </a:prstGeom>
          <a:noFill/>
          <a:ln>
            <a:noFill/>
          </a:ln>
        </p:spPr>
        <p:txBody>
          <a:bodyPr spcFirstLastPara="1" wrap="square" lIns="0" tIns="0" rIns="0" bIns="0" anchor="t" anchorCtr="0">
            <a:noAutofit/>
          </a:bodyPr>
          <a:lstStyle>
            <a:lvl1pPr lvl="0"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1pPr>
            <a:lvl2pPr lvl="1"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2pPr>
            <a:lvl3pPr lvl="2"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3pPr>
            <a:lvl4pPr lvl="3"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4pPr>
            <a:lvl5pPr lvl="4"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5pPr>
            <a:lvl6pPr lvl="5"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6pPr>
            <a:lvl7pPr lvl="6"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7pPr>
            <a:lvl8pPr lvl="7"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8pPr>
            <a:lvl9pPr lvl="8" rtl="0">
              <a:spcBef>
                <a:spcPts val="0"/>
              </a:spcBef>
              <a:spcAft>
                <a:spcPts val="0"/>
              </a:spcAft>
              <a:buClr>
                <a:schemeClr val="dk1"/>
              </a:buClr>
              <a:buSzPts val="7500"/>
              <a:buFont typeface="Arimo"/>
              <a:buNone/>
              <a:defRPr sz="7500">
                <a:solidFill>
                  <a:schemeClr val="dk1"/>
                </a:solidFill>
                <a:latin typeface="Arimo"/>
                <a:ea typeface="Arimo"/>
                <a:cs typeface="Arimo"/>
                <a:sym typeface="Arimo"/>
              </a:defRPr>
            </a:lvl9pPr>
          </a:lstStyle>
          <a:p>
            <a:endParaRPr/>
          </a:p>
        </p:txBody>
      </p:sp>
      <p:sp>
        <p:nvSpPr>
          <p:cNvPr id="3713" name="Google Shape;3713;p465"/>
          <p:cNvSpPr txBox="1">
            <a:spLocks noGrp="1"/>
          </p:cNvSpPr>
          <p:nvPr>
            <p:ph type="body" idx="1"/>
          </p:nvPr>
        </p:nvSpPr>
        <p:spPr>
          <a:xfrm>
            <a:off x="364734" y="1608366"/>
            <a:ext cx="11461650" cy="4269150"/>
          </a:xfrm>
          <a:prstGeom prst="rect">
            <a:avLst/>
          </a:prstGeom>
          <a:noFill/>
          <a:ln>
            <a:noFill/>
          </a:ln>
        </p:spPr>
        <p:txBody>
          <a:bodyPr spcFirstLastPara="1" wrap="square" lIns="0" tIns="0" rIns="0" bIns="0" anchor="t" anchorCtr="0">
            <a:noAutofit/>
          </a:bodyPr>
          <a:lstStyle>
            <a:lvl1pPr marL="457200" lvl="0" indent="-533400" rtl="0">
              <a:lnSpc>
                <a:spcPct val="115000"/>
              </a:lnSpc>
              <a:spcBef>
                <a:spcPts val="0"/>
              </a:spcBef>
              <a:spcAft>
                <a:spcPts val="0"/>
              </a:spcAft>
              <a:buClr>
                <a:schemeClr val="dk1"/>
              </a:buClr>
              <a:buSzPts val="4800"/>
              <a:buFont typeface="Arimo"/>
              <a:buChar char="—"/>
              <a:defRPr sz="4800">
                <a:solidFill>
                  <a:schemeClr val="dk1"/>
                </a:solidFill>
                <a:latin typeface="Arimo"/>
                <a:ea typeface="Arimo"/>
                <a:cs typeface="Arimo"/>
                <a:sym typeface="Arimo"/>
              </a:defRPr>
            </a:lvl1pPr>
            <a:lvl2pPr marL="914400" lvl="1"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2pPr>
            <a:lvl3pPr marL="1371600" lvl="2"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3pPr>
            <a:lvl4pPr marL="1828800" lvl="3"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4pPr>
            <a:lvl5pPr marL="2286000" lvl="4"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5pPr>
            <a:lvl6pPr marL="2743200" lvl="5"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6pPr>
            <a:lvl7pPr marL="3200400" lvl="6"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7pPr>
            <a:lvl8pPr marL="3657600" lvl="7" indent="-463550" rtl="0">
              <a:lnSpc>
                <a:spcPct val="115000"/>
              </a:lnSpc>
              <a:spcBef>
                <a:spcPts val="4300"/>
              </a:spcBef>
              <a:spcAft>
                <a:spcPts val="0"/>
              </a:spcAft>
              <a:buClr>
                <a:schemeClr val="dk1"/>
              </a:buClr>
              <a:buSzPts val="3700"/>
              <a:buFont typeface="Arimo"/>
              <a:buChar char="∙"/>
              <a:defRPr sz="3700">
                <a:solidFill>
                  <a:schemeClr val="dk1"/>
                </a:solidFill>
                <a:latin typeface="Arimo"/>
                <a:ea typeface="Arimo"/>
                <a:cs typeface="Arimo"/>
                <a:sym typeface="Arimo"/>
              </a:defRPr>
            </a:lvl8pPr>
            <a:lvl9pPr marL="4114800" lvl="8" indent="-463550" rtl="0">
              <a:lnSpc>
                <a:spcPct val="115000"/>
              </a:lnSpc>
              <a:spcBef>
                <a:spcPts val="4300"/>
              </a:spcBef>
              <a:spcAft>
                <a:spcPts val="4300"/>
              </a:spcAft>
              <a:buClr>
                <a:schemeClr val="dk1"/>
              </a:buClr>
              <a:buSzPts val="3700"/>
              <a:buFont typeface="Arimo"/>
              <a:buChar char="∙"/>
              <a:defRPr sz="3700">
                <a:solidFill>
                  <a:schemeClr val="dk1"/>
                </a:solidFill>
                <a:latin typeface="Arimo"/>
                <a:ea typeface="Arimo"/>
                <a:cs typeface="Arimo"/>
                <a:sym typeface="Arimo"/>
              </a:defRPr>
            </a:lvl9pPr>
          </a:lstStyle>
          <a:p>
            <a:endParaRPr/>
          </a:p>
        </p:txBody>
      </p:sp>
    </p:spTree>
    <p:extLst>
      <p:ext uri="{BB962C8B-B14F-4D97-AF65-F5344CB8AC3E}">
        <p14:creationId xmlns:p14="http://schemas.microsoft.com/office/powerpoint/2010/main" val="3620774816"/>
      </p:ext>
    </p:extLst>
  </p:cSld>
  <p:clrMap bg1="lt1" tx1="dk1" bg2="dk2" tx2="lt2" accent1="accent1" accent2="accent2" accent3="accent3" accent4="accent4" accent5="accent5" accent6="accent6" hlink="hlink" folHlink="folHlink"/>
  <p:sldLayoutIdLst>
    <p:sldLayoutId id="2147483661" r:id="rId1"/>
    <p:sldLayoutId id="2147483662"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45">
          <p15:clr>
            <a:srgbClr val="EA4335"/>
          </p15:clr>
        </p15:guide>
        <p15:guide id="2" pos="1152">
          <p15:clr>
            <a:srgbClr val="C9DAF8"/>
          </p15:clr>
        </p15:guide>
        <p15:guide id="3" orient="horz" pos="445">
          <p15:clr>
            <a:srgbClr val="EA4335"/>
          </p15:clr>
        </p15:guide>
        <p15:guide id="4" orient="horz" pos="1137">
          <p15:clr>
            <a:srgbClr val="C9DAF8"/>
          </p15:clr>
        </p15:guide>
        <p15:guide id="5" pos="1260">
          <p15:clr>
            <a:srgbClr val="C9DAF8"/>
          </p15:clr>
        </p15:guide>
        <p15:guide id="6" pos="1966">
          <p15:clr>
            <a:srgbClr val="CFE2F3"/>
          </p15:clr>
        </p15:guide>
        <p15:guide id="7" pos="2074">
          <p15:clr>
            <a:srgbClr val="C9DAF8"/>
          </p15:clr>
        </p15:guide>
        <p15:guide id="8" pos="2765">
          <p15:clr>
            <a:srgbClr val="C9DAF8"/>
          </p15:clr>
        </p15:guide>
        <p15:guide id="9" pos="2872">
          <p15:clr>
            <a:srgbClr val="C9DAF8"/>
          </p15:clr>
        </p15:guide>
        <p15:guide id="10" pos="3579">
          <p15:clr>
            <a:srgbClr val="C9DAF8"/>
          </p15:clr>
        </p15:guide>
        <p15:guide id="11" pos="3686">
          <p15:clr>
            <a:srgbClr val="C9DAF8"/>
          </p15:clr>
        </p15:guide>
        <p15:guide id="12" pos="4393">
          <p15:clr>
            <a:srgbClr val="C9DAF8"/>
          </p15:clr>
        </p15:guide>
        <p15:guide id="13" pos="4500">
          <p15:clr>
            <a:srgbClr val="C9DAF8"/>
          </p15:clr>
        </p15:guide>
        <p15:guide id="14" pos="5207">
          <p15:clr>
            <a:srgbClr val="C9DAF8"/>
          </p15:clr>
        </p15:guide>
        <p15:guide id="15" pos="5315">
          <p15:clr>
            <a:srgbClr val="C9DAF8"/>
          </p15:clr>
        </p15:guide>
        <p15:guide id="16" pos="6006">
          <p15:clr>
            <a:srgbClr val="C9DAF8"/>
          </p15:clr>
        </p15:guide>
        <p15:guide id="17" pos="6113">
          <p15:clr>
            <a:srgbClr val="C9DAF8"/>
          </p15:clr>
        </p15:guide>
        <p15:guide id="18" pos="6820">
          <p15:clr>
            <a:srgbClr val="C9DAF8"/>
          </p15:clr>
        </p15:guide>
        <p15:guide id="19" pos="6927">
          <p15:clr>
            <a:srgbClr val="C9DAF8"/>
          </p15:clr>
        </p15:guide>
        <p15:guide id="20" pos="7634">
          <p15:clr>
            <a:srgbClr val="C9DAF8"/>
          </p15:clr>
        </p15:guide>
        <p15:guide id="21" pos="7741">
          <p15:clr>
            <a:srgbClr val="C9DAF8"/>
          </p15:clr>
        </p15:guide>
        <p15:guide id="22" pos="8433">
          <p15:clr>
            <a:srgbClr val="C9DAF8"/>
          </p15:clr>
        </p15:guide>
        <p15:guide id="23" pos="8540">
          <p15:clr>
            <a:srgbClr val="C9DAF8"/>
          </p15:clr>
        </p15:guide>
        <p15:guide id="24" pos="9247">
          <p15:clr>
            <a:srgbClr val="C9DAF8"/>
          </p15:clr>
        </p15:guide>
        <p15:guide id="25" pos="9354">
          <p15:clr>
            <a:srgbClr val="C9DAF8"/>
          </p15:clr>
        </p15:guide>
        <p15:guide id="26" pos="10045">
          <p15:clr>
            <a:srgbClr val="C9DAF8"/>
          </p15:clr>
        </p15:guide>
        <p15:guide id="27" pos="10153">
          <p15:clr>
            <a:srgbClr val="C9DAF8"/>
          </p15:clr>
        </p15:guide>
        <p15:guide id="28" pos="10860">
          <p15:clr>
            <a:srgbClr val="C9DAF8"/>
          </p15:clr>
        </p15:guide>
        <p15:guide id="29" pos="10967">
          <p15:clr>
            <a:srgbClr val="C9DAF8"/>
          </p15:clr>
        </p15:guide>
        <p15:guide id="30" pos="11674">
          <p15:clr>
            <a:srgbClr val="C9DAF8"/>
          </p15:clr>
        </p15:guide>
        <p15:guide id="31" pos="11781">
          <p15:clr>
            <a:srgbClr val="C9DAF8"/>
          </p15:clr>
        </p15:guide>
        <p15:guide id="32" pos="12472">
          <p15:clr>
            <a:srgbClr val="C9DAF8"/>
          </p15:clr>
        </p15:guide>
        <p15:guide id="33" pos="12580">
          <p15:clr>
            <a:srgbClr val="C9DAF8"/>
          </p15:clr>
        </p15:guide>
        <p15:guide id="34" pos="13286">
          <p15:clr>
            <a:srgbClr val="C9DAF8"/>
          </p15:clr>
        </p15:guide>
        <p15:guide id="35" pos="13394">
          <p15:clr>
            <a:srgbClr val="C9DAF8"/>
          </p15:clr>
        </p15:guide>
        <p15:guide id="36" pos="14100">
          <p15:clr>
            <a:srgbClr val="C9DAF8"/>
          </p15:clr>
        </p15:guide>
        <p15:guide id="37" pos="14208">
          <p15:clr>
            <a:srgbClr val="C9DAF8"/>
          </p15:clr>
        </p15:guide>
        <p15:guide id="38" pos="14915">
          <p15:clr>
            <a:srgbClr val="FF0000"/>
          </p15:clr>
        </p15:guide>
        <p15:guide id="39" orient="horz" pos="1229">
          <p15:clr>
            <a:srgbClr val="FF0000"/>
          </p15:clr>
        </p15:guide>
        <p15:guide id="40" orient="horz" pos="1920">
          <p15:clr>
            <a:srgbClr val="C9DAF8"/>
          </p15:clr>
        </p15:guide>
        <p15:guide id="41" orient="horz" pos="2028">
          <p15:clr>
            <a:srgbClr val="C9DAF8"/>
          </p15:clr>
        </p15:guide>
        <p15:guide id="42" orient="horz" pos="2703">
          <p15:clr>
            <a:srgbClr val="C9DAF8"/>
          </p15:clr>
        </p15:guide>
        <p15:guide id="43" orient="horz" pos="2811">
          <p15:clr>
            <a:srgbClr val="C9DAF8"/>
          </p15:clr>
        </p15:guide>
        <p15:guide id="44" orient="horz" pos="3487">
          <p15:clr>
            <a:srgbClr val="CFE2F3"/>
          </p15:clr>
        </p15:guide>
        <p15:guide id="45" orient="horz" pos="3594">
          <p15:clr>
            <a:srgbClr val="CFE2F3"/>
          </p15:clr>
        </p15:guide>
        <p15:guide id="46" orient="horz" pos="4270">
          <p15:clr>
            <a:srgbClr val="C9DAF8"/>
          </p15:clr>
        </p15:guide>
        <p15:guide id="47" orient="horz" pos="4378">
          <p15:clr>
            <a:srgbClr val="C9DAF8"/>
          </p15:clr>
        </p15:guide>
        <p15:guide id="48" orient="horz" pos="5053">
          <p15:clr>
            <a:srgbClr val="C9DAF8"/>
          </p15:clr>
        </p15:guide>
        <p15:guide id="49" orient="horz" pos="5161">
          <p15:clr>
            <a:srgbClr val="C9DAF8"/>
          </p15:clr>
        </p15:guide>
        <p15:guide id="50" orient="horz" pos="5837">
          <p15:clr>
            <a:srgbClr val="C9DAF8"/>
          </p15:clr>
        </p15:guide>
        <p15:guide id="51" orient="horz" pos="5944">
          <p15:clr>
            <a:srgbClr val="C9DAF8"/>
          </p15:clr>
        </p15:guide>
        <p15:guide id="52" orient="horz" pos="6620">
          <p15:clr>
            <a:srgbClr val="C9DAF8"/>
          </p15:clr>
        </p15:guide>
        <p15:guide id="53" orient="horz" pos="6728">
          <p15:clr>
            <a:srgbClr val="C9DAF8"/>
          </p15:clr>
        </p15:guide>
        <p15:guide id="54" orient="horz" pos="7404">
          <p15:clr>
            <a:srgbClr val="EA4335"/>
          </p15:clr>
        </p15:guide>
        <p15:guide id="55" orient="horz" pos="7511">
          <p15:clr>
            <a:srgbClr val="C9DAF8"/>
          </p15:clr>
        </p15:guide>
        <p15:guide id="56" orient="horz" pos="8187">
          <p15:clr>
            <a:srgbClr val="EA4335"/>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5D7BC8-9910-088E-3F42-44EE5F699CC2}"/>
              </a:ext>
            </a:extLst>
          </p:cNvPr>
          <p:cNvPicPr>
            <a:picLocks noChangeAspect="1"/>
          </p:cNvPicPr>
          <p:nvPr/>
        </p:nvPicPr>
        <p:blipFill>
          <a:blip r:embed="rId2"/>
          <a:stretch>
            <a:fillRect/>
          </a:stretch>
        </p:blipFill>
        <p:spPr>
          <a:xfrm>
            <a:off x="713444" y="92879"/>
            <a:ext cx="3523476" cy="2286000"/>
          </a:xfrm>
          <a:prstGeom prst="rect">
            <a:avLst/>
          </a:prstGeom>
        </p:spPr>
      </p:pic>
      <p:pic>
        <p:nvPicPr>
          <p:cNvPr id="5" name="Picture 4">
            <a:extLst>
              <a:ext uri="{FF2B5EF4-FFF2-40B4-BE49-F238E27FC236}">
                <a16:creationId xmlns:a16="http://schemas.microsoft.com/office/drawing/2014/main" id="{2C0845C4-93A2-0B71-254B-917ACFEC35E1}"/>
              </a:ext>
            </a:extLst>
          </p:cNvPr>
          <p:cNvPicPr>
            <a:picLocks noChangeAspect="1"/>
          </p:cNvPicPr>
          <p:nvPr/>
        </p:nvPicPr>
        <p:blipFill>
          <a:blip r:embed="rId3"/>
          <a:stretch>
            <a:fillRect/>
          </a:stretch>
        </p:blipFill>
        <p:spPr>
          <a:xfrm>
            <a:off x="4764170" y="92879"/>
            <a:ext cx="3523476" cy="2286000"/>
          </a:xfrm>
          <a:prstGeom prst="rect">
            <a:avLst/>
          </a:prstGeom>
        </p:spPr>
      </p:pic>
      <p:pic>
        <p:nvPicPr>
          <p:cNvPr id="6" name="Picture 5">
            <a:extLst>
              <a:ext uri="{FF2B5EF4-FFF2-40B4-BE49-F238E27FC236}">
                <a16:creationId xmlns:a16="http://schemas.microsoft.com/office/drawing/2014/main" id="{BFB8A301-A034-BD79-03FE-6C383B87B641}"/>
              </a:ext>
            </a:extLst>
          </p:cNvPr>
          <p:cNvPicPr>
            <a:picLocks noChangeAspect="1"/>
          </p:cNvPicPr>
          <p:nvPr/>
        </p:nvPicPr>
        <p:blipFill>
          <a:blip r:embed="rId4"/>
          <a:stretch>
            <a:fillRect/>
          </a:stretch>
        </p:blipFill>
        <p:spPr>
          <a:xfrm>
            <a:off x="8814895" y="92879"/>
            <a:ext cx="2767275" cy="2286000"/>
          </a:xfrm>
          <a:prstGeom prst="rect">
            <a:avLst/>
          </a:prstGeom>
        </p:spPr>
      </p:pic>
      <p:pic>
        <p:nvPicPr>
          <p:cNvPr id="7" name="Picture 6">
            <a:extLst>
              <a:ext uri="{FF2B5EF4-FFF2-40B4-BE49-F238E27FC236}">
                <a16:creationId xmlns:a16="http://schemas.microsoft.com/office/drawing/2014/main" id="{2EE95C20-D666-2C14-B2AA-66F64A8F8E2A}"/>
              </a:ext>
            </a:extLst>
          </p:cNvPr>
          <p:cNvPicPr>
            <a:picLocks noChangeAspect="1"/>
          </p:cNvPicPr>
          <p:nvPr/>
        </p:nvPicPr>
        <p:blipFill>
          <a:blip r:embed="rId5"/>
          <a:stretch>
            <a:fillRect/>
          </a:stretch>
        </p:blipFill>
        <p:spPr>
          <a:xfrm>
            <a:off x="527068" y="2460740"/>
            <a:ext cx="3457024" cy="2286000"/>
          </a:xfrm>
          <a:prstGeom prst="rect">
            <a:avLst/>
          </a:prstGeom>
        </p:spPr>
      </p:pic>
      <p:pic>
        <p:nvPicPr>
          <p:cNvPr id="8" name="Picture 7">
            <a:extLst>
              <a:ext uri="{FF2B5EF4-FFF2-40B4-BE49-F238E27FC236}">
                <a16:creationId xmlns:a16="http://schemas.microsoft.com/office/drawing/2014/main" id="{39F217DF-27C0-1057-8898-52AA55FE977B}"/>
              </a:ext>
            </a:extLst>
          </p:cNvPr>
          <p:cNvPicPr>
            <a:picLocks noChangeAspect="1"/>
          </p:cNvPicPr>
          <p:nvPr/>
        </p:nvPicPr>
        <p:blipFill>
          <a:blip r:embed="rId6"/>
          <a:stretch>
            <a:fillRect/>
          </a:stretch>
        </p:blipFill>
        <p:spPr>
          <a:xfrm>
            <a:off x="4548711" y="2460740"/>
            <a:ext cx="2813376" cy="2286000"/>
          </a:xfrm>
          <a:prstGeom prst="rect">
            <a:avLst/>
          </a:prstGeom>
        </p:spPr>
      </p:pic>
      <p:pic>
        <p:nvPicPr>
          <p:cNvPr id="9" name="Picture 8">
            <a:extLst>
              <a:ext uri="{FF2B5EF4-FFF2-40B4-BE49-F238E27FC236}">
                <a16:creationId xmlns:a16="http://schemas.microsoft.com/office/drawing/2014/main" id="{6417371D-0797-67E4-F9FB-B609EB9A70E9}"/>
              </a:ext>
            </a:extLst>
          </p:cNvPr>
          <p:cNvPicPr>
            <a:picLocks noChangeAspect="1"/>
          </p:cNvPicPr>
          <p:nvPr/>
        </p:nvPicPr>
        <p:blipFill>
          <a:blip r:embed="rId7"/>
          <a:stretch>
            <a:fillRect/>
          </a:stretch>
        </p:blipFill>
        <p:spPr>
          <a:xfrm>
            <a:off x="7926706" y="2460740"/>
            <a:ext cx="3847375" cy="2286000"/>
          </a:xfrm>
          <a:prstGeom prst="rect">
            <a:avLst/>
          </a:prstGeom>
        </p:spPr>
      </p:pic>
      <p:pic>
        <p:nvPicPr>
          <p:cNvPr id="10" name="Picture 9">
            <a:extLst>
              <a:ext uri="{FF2B5EF4-FFF2-40B4-BE49-F238E27FC236}">
                <a16:creationId xmlns:a16="http://schemas.microsoft.com/office/drawing/2014/main" id="{E089D7F5-4D04-5607-3875-BCD16E52C725}"/>
              </a:ext>
            </a:extLst>
          </p:cNvPr>
          <p:cNvPicPr>
            <a:picLocks noChangeAspect="1"/>
          </p:cNvPicPr>
          <p:nvPr/>
        </p:nvPicPr>
        <p:blipFill>
          <a:blip r:embed="rId8"/>
          <a:stretch>
            <a:fillRect/>
          </a:stretch>
        </p:blipFill>
        <p:spPr>
          <a:xfrm>
            <a:off x="144931" y="4880673"/>
            <a:ext cx="1813184" cy="1884448"/>
          </a:xfrm>
          <a:prstGeom prst="rect">
            <a:avLst/>
          </a:prstGeom>
        </p:spPr>
      </p:pic>
      <p:pic>
        <p:nvPicPr>
          <p:cNvPr id="11" name="Picture 10">
            <a:extLst>
              <a:ext uri="{FF2B5EF4-FFF2-40B4-BE49-F238E27FC236}">
                <a16:creationId xmlns:a16="http://schemas.microsoft.com/office/drawing/2014/main" id="{DD1C5DFD-0E75-CAC7-7D2C-40A9F2659821}"/>
              </a:ext>
            </a:extLst>
          </p:cNvPr>
          <p:cNvPicPr>
            <a:picLocks noChangeAspect="1"/>
          </p:cNvPicPr>
          <p:nvPr/>
        </p:nvPicPr>
        <p:blipFill>
          <a:blip r:embed="rId9"/>
          <a:stretch>
            <a:fillRect/>
          </a:stretch>
        </p:blipFill>
        <p:spPr>
          <a:xfrm>
            <a:off x="2008005" y="5197139"/>
            <a:ext cx="5081412" cy="1251516"/>
          </a:xfrm>
          <a:prstGeom prst="rect">
            <a:avLst/>
          </a:prstGeom>
        </p:spPr>
      </p:pic>
      <p:pic>
        <p:nvPicPr>
          <p:cNvPr id="12" name="Picture 11">
            <a:extLst>
              <a:ext uri="{FF2B5EF4-FFF2-40B4-BE49-F238E27FC236}">
                <a16:creationId xmlns:a16="http://schemas.microsoft.com/office/drawing/2014/main" id="{5B3E22FD-C580-73E3-1BFD-0D1D1A347790}"/>
              </a:ext>
            </a:extLst>
          </p:cNvPr>
          <p:cNvPicPr>
            <a:picLocks noChangeAspect="1"/>
          </p:cNvPicPr>
          <p:nvPr/>
        </p:nvPicPr>
        <p:blipFill>
          <a:blip r:embed="rId10"/>
          <a:stretch>
            <a:fillRect/>
          </a:stretch>
        </p:blipFill>
        <p:spPr>
          <a:xfrm>
            <a:off x="7429777" y="5143877"/>
            <a:ext cx="1813184" cy="1358039"/>
          </a:xfrm>
          <a:prstGeom prst="rect">
            <a:avLst/>
          </a:prstGeom>
        </p:spPr>
      </p:pic>
      <p:pic>
        <p:nvPicPr>
          <p:cNvPr id="13" name="Picture 12">
            <a:extLst>
              <a:ext uri="{FF2B5EF4-FFF2-40B4-BE49-F238E27FC236}">
                <a16:creationId xmlns:a16="http://schemas.microsoft.com/office/drawing/2014/main" id="{EBD9CFDE-C991-E96C-4DFC-B83CDA1FA7F3}"/>
              </a:ext>
            </a:extLst>
          </p:cNvPr>
          <p:cNvPicPr>
            <a:picLocks noChangeAspect="1"/>
          </p:cNvPicPr>
          <p:nvPr/>
        </p:nvPicPr>
        <p:blipFill>
          <a:blip r:embed="rId11"/>
          <a:stretch>
            <a:fillRect/>
          </a:stretch>
        </p:blipFill>
        <p:spPr>
          <a:xfrm>
            <a:off x="9583321" y="5116825"/>
            <a:ext cx="2080205" cy="1412141"/>
          </a:xfrm>
          <a:prstGeom prst="rect">
            <a:avLst/>
          </a:prstGeom>
        </p:spPr>
      </p:pic>
    </p:spTree>
    <p:extLst>
      <p:ext uri="{BB962C8B-B14F-4D97-AF65-F5344CB8AC3E}">
        <p14:creationId xmlns:p14="http://schemas.microsoft.com/office/powerpoint/2010/main" val="2186849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44C4A-0C5D-E05E-CADD-B9B9CB804530}"/>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577415E1-C0DF-943F-4B8C-3AEED9A620AD}"/>
              </a:ext>
            </a:extLst>
          </p:cNvPr>
          <p:cNvSpPr txBox="1">
            <a:spLocks/>
          </p:cNvSpPr>
          <p:nvPr/>
        </p:nvSpPr>
        <p:spPr>
          <a:xfrm>
            <a:off x="1088430" y="5561422"/>
            <a:ext cx="10015138" cy="963264"/>
          </a:xfrm>
          <a:prstGeom prst="rect">
            <a:avLst/>
          </a:prstGeom>
        </p:spPr>
        <p:txBody>
          <a:bodyPr vert="horz" lIns="91440" tIns="45720" rIns="91440" bIns="45720" rtlCol="0">
            <a:normAutofit fontScale="92500" lnSpcReduction="1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Comparison of Years with Highest and Lowest Vegetation Index</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bar chart compares the years with the highest and lowest Vegetation Index values.</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Maximum Index (2022): The highest index value is 0.8, represented in green.</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Minimum Index (2018): The lowest index value is 0.2, represented in red.</a:t>
            </a:r>
          </a:p>
        </p:txBody>
      </p:sp>
      <p:pic>
        <p:nvPicPr>
          <p:cNvPr id="3" name="Picture 2">
            <a:extLst>
              <a:ext uri="{FF2B5EF4-FFF2-40B4-BE49-F238E27FC236}">
                <a16:creationId xmlns:a16="http://schemas.microsoft.com/office/drawing/2014/main" id="{DBBEE049-0C5A-AD8D-96AF-53A20028E5B6}"/>
              </a:ext>
            </a:extLst>
          </p:cNvPr>
          <p:cNvPicPr>
            <a:picLocks noChangeAspect="1"/>
          </p:cNvPicPr>
          <p:nvPr/>
        </p:nvPicPr>
        <p:blipFill>
          <a:blip r:embed="rId2"/>
          <a:stretch>
            <a:fillRect/>
          </a:stretch>
        </p:blipFill>
        <p:spPr>
          <a:xfrm>
            <a:off x="2874623" y="525043"/>
            <a:ext cx="6086497" cy="4558662"/>
          </a:xfrm>
          <a:prstGeom prst="rect">
            <a:avLst/>
          </a:prstGeom>
        </p:spPr>
      </p:pic>
    </p:spTree>
    <p:extLst>
      <p:ext uri="{BB962C8B-B14F-4D97-AF65-F5344CB8AC3E}">
        <p14:creationId xmlns:p14="http://schemas.microsoft.com/office/powerpoint/2010/main" val="2630319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16043B-6C1A-44DA-6B74-FB4FFF28903D}"/>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358AA5A0-C5C0-148D-5EA5-B09DFFB0E140}"/>
              </a:ext>
            </a:extLst>
          </p:cNvPr>
          <p:cNvSpPr txBox="1">
            <a:spLocks/>
          </p:cNvSpPr>
          <p:nvPr/>
        </p:nvSpPr>
        <p:spPr>
          <a:xfrm>
            <a:off x="1088430" y="4990854"/>
            <a:ext cx="10015138" cy="1533832"/>
          </a:xfrm>
          <a:prstGeom prst="rect">
            <a:avLst/>
          </a:prstGeom>
        </p:spPr>
        <p:txBody>
          <a:bodyPr vert="horz" lIns="91440" tIns="45720" rIns="91440" bIns="45720" rtlCol="0">
            <a:normAutofit fontScale="92500" lnSpcReduction="2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Simplified Hypothetical Forecast for Vegetation Index</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chart combines historical data (black line) and hypothetical forecasts (blue line) for the Vegetation Index.</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Historical Data: Displays the actual index values from 2015 to 2024.</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Hypothetical Forecast: Projects future values for 2025-2027, assuming steady growth.</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Prediction Start: Marked by the dashed line, indicating the boundary between historical and forecasted data.</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endParaRPr lang="en-US" sz="1400" dirty="0">
              <a:solidFill>
                <a:srgbClr val="0070C0"/>
              </a:solidFill>
              <a:latin typeface="Arial" panose="020B0604020202020204" pitchFamily="34" charset="0"/>
              <a:cs typeface="Arial" panose="020B0604020202020204" pitchFamily="34" charset="0"/>
            </a:endParaRP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e hypothetical forecast assumes index values of 0.70, 0.75, and 0.80 for 2025, 2026, and 2027, respectively.</a:t>
            </a:r>
          </a:p>
        </p:txBody>
      </p:sp>
      <p:pic>
        <p:nvPicPr>
          <p:cNvPr id="2" name="Picture 1">
            <a:extLst>
              <a:ext uri="{FF2B5EF4-FFF2-40B4-BE49-F238E27FC236}">
                <a16:creationId xmlns:a16="http://schemas.microsoft.com/office/drawing/2014/main" id="{991660BB-F824-9E2D-5E12-FE0BCCB74A56}"/>
              </a:ext>
            </a:extLst>
          </p:cNvPr>
          <p:cNvPicPr>
            <a:picLocks noChangeAspect="1"/>
          </p:cNvPicPr>
          <p:nvPr/>
        </p:nvPicPr>
        <p:blipFill>
          <a:blip r:embed="rId2"/>
          <a:stretch>
            <a:fillRect/>
          </a:stretch>
        </p:blipFill>
        <p:spPr>
          <a:xfrm>
            <a:off x="3189100" y="749219"/>
            <a:ext cx="5813798" cy="3946668"/>
          </a:xfrm>
          <a:prstGeom prst="rect">
            <a:avLst/>
          </a:prstGeom>
        </p:spPr>
      </p:pic>
    </p:spTree>
    <p:extLst>
      <p:ext uri="{BB962C8B-B14F-4D97-AF65-F5344CB8AC3E}">
        <p14:creationId xmlns:p14="http://schemas.microsoft.com/office/powerpoint/2010/main" val="2321893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CAD79-D96B-F8B3-C233-01EBADE2B65C}"/>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A02FCBCA-6DF5-0E81-E0EC-6D0A8D165EB9}"/>
              </a:ext>
            </a:extLst>
          </p:cNvPr>
          <p:cNvGrpSpPr/>
          <p:nvPr/>
        </p:nvGrpSpPr>
        <p:grpSpPr>
          <a:xfrm>
            <a:off x="-9144" y="14"/>
            <a:ext cx="12210289" cy="6858000"/>
            <a:chOff x="11541" y="6151"/>
            <a:chExt cx="12210289" cy="6858000"/>
          </a:xfrm>
        </p:grpSpPr>
        <p:sp>
          <p:nvSpPr>
            <p:cNvPr id="3" name="Rectangle 2">
              <a:extLst>
                <a:ext uri="{FF2B5EF4-FFF2-40B4-BE49-F238E27FC236}">
                  <a16:creationId xmlns:a16="http://schemas.microsoft.com/office/drawing/2014/main" id="{81FDB87B-3619-878B-77C5-28BBC880AF1E}"/>
                </a:ext>
              </a:extLst>
            </p:cNvPr>
            <p:cNvSpPr/>
            <p:nvPr/>
          </p:nvSpPr>
          <p:spPr>
            <a:xfrm>
              <a:off x="11541" y="6151"/>
              <a:ext cx="3035808" cy="6858000"/>
            </a:xfrm>
            <a:prstGeom prst="rect">
              <a:avLst/>
            </a:prstGeom>
            <a:solidFill>
              <a:srgbClr val="222A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56A6D"/>
                </a:solidFill>
                <a:effectLst/>
                <a:uLnTx/>
                <a:uFillTx/>
                <a:latin typeface="Arial"/>
                <a:ea typeface="+mn-ea"/>
                <a:cs typeface="+mn-cs"/>
              </a:endParaRPr>
            </a:p>
          </p:txBody>
        </p:sp>
        <p:sp>
          <p:nvSpPr>
            <p:cNvPr id="5" name="Rectangle 4">
              <a:extLst>
                <a:ext uri="{FF2B5EF4-FFF2-40B4-BE49-F238E27FC236}">
                  <a16:creationId xmlns:a16="http://schemas.microsoft.com/office/drawing/2014/main" id="{35F423E9-3405-E120-A24D-597314ECFA35}"/>
                </a:ext>
              </a:extLst>
            </p:cNvPr>
            <p:cNvSpPr/>
            <p:nvPr/>
          </p:nvSpPr>
          <p:spPr>
            <a:xfrm>
              <a:off x="3069701" y="6151"/>
              <a:ext cx="3035808" cy="6858000"/>
            </a:xfrm>
            <a:prstGeom prst="rect">
              <a:avLst/>
            </a:prstGeom>
            <a:solidFill>
              <a:srgbClr val="333F4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A6D"/>
                </a:solidFill>
                <a:effectLst/>
                <a:uLnTx/>
                <a:uFillTx/>
                <a:latin typeface="Arial"/>
                <a:ea typeface="+mn-ea"/>
                <a:cs typeface="+mn-cs"/>
              </a:endParaRPr>
            </a:p>
          </p:txBody>
        </p:sp>
        <p:sp>
          <p:nvSpPr>
            <p:cNvPr id="6" name="Rectangle 5">
              <a:extLst>
                <a:ext uri="{FF2B5EF4-FFF2-40B4-BE49-F238E27FC236}">
                  <a16:creationId xmlns:a16="http://schemas.microsoft.com/office/drawing/2014/main" id="{058E084C-7D24-A84E-B37C-553609590930}"/>
                </a:ext>
              </a:extLst>
            </p:cNvPr>
            <p:cNvSpPr/>
            <p:nvPr/>
          </p:nvSpPr>
          <p:spPr>
            <a:xfrm>
              <a:off x="6127861" y="6151"/>
              <a:ext cx="3035808" cy="6858000"/>
            </a:xfrm>
            <a:prstGeom prst="rect">
              <a:avLst/>
            </a:prstGeom>
            <a:solidFill>
              <a:srgbClr val="4A5B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A6D"/>
                </a:solidFill>
                <a:effectLst/>
                <a:uLnTx/>
                <a:uFillTx/>
                <a:latin typeface="Arial"/>
                <a:ea typeface="+mn-ea"/>
                <a:cs typeface="+mn-cs"/>
              </a:endParaRPr>
            </a:p>
          </p:txBody>
        </p:sp>
        <p:sp>
          <p:nvSpPr>
            <p:cNvPr id="7" name="Rectangle 6">
              <a:extLst>
                <a:ext uri="{FF2B5EF4-FFF2-40B4-BE49-F238E27FC236}">
                  <a16:creationId xmlns:a16="http://schemas.microsoft.com/office/drawing/2014/main" id="{6D04C546-3BEB-E435-CB94-9C7A8E35548C}"/>
                </a:ext>
              </a:extLst>
            </p:cNvPr>
            <p:cNvSpPr/>
            <p:nvPr/>
          </p:nvSpPr>
          <p:spPr>
            <a:xfrm>
              <a:off x="9186022" y="6151"/>
              <a:ext cx="3035808" cy="6858000"/>
            </a:xfrm>
            <a:prstGeom prst="rect">
              <a:avLst/>
            </a:prstGeom>
            <a:solidFill>
              <a:srgbClr val="7186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56A6D"/>
                </a:solidFill>
                <a:effectLst/>
                <a:uLnTx/>
                <a:uFillTx/>
                <a:latin typeface="Arial"/>
                <a:ea typeface="+mn-ea"/>
                <a:cs typeface="+mn-cs"/>
              </a:endParaRPr>
            </a:p>
          </p:txBody>
        </p:sp>
      </p:grpSp>
      <p:sp>
        <p:nvSpPr>
          <p:cNvPr id="22" name="Google Shape;5652;p658">
            <a:extLst>
              <a:ext uri="{FF2B5EF4-FFF2-40B4-BE49-F238E27FC236}">
                <a16:creationId xmlns:a16="http://schemas.microsoft.com/office/drawing/2014/main" id="{B5219864-E71E-593E-1432-A50E116DED85}"/>
              </a:ext>
            </a:extLst>
          </p:cNvPr>
          <p:cNvSpPr txBox="1"/>
          <p:nvPr/>
        </p:nvSpPr>
        <p:spPr>
          <a:xfrm>
            <a:off x="585933" y="237302"/>
            <a:ext cx="8032138" cy="161583"/>
          </a:xfrm>
          <a:prstGeom prst="rect">
            <a:avLst/>
          </a:prstGeom>
          <a:noFill/>
          <a:ln>
            <a:noFill/>
          </a:ln>
        </p:spPr>
        <p:txBody>
          <a:bodyPr spcFirstLastPara="1"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latin typeface="Arial"/>
                <a:ea typeface="+mn-lt"/>
                <a:cs typeface="Arial"/>
                <a:sym typeface="+mn-lt"/>
              </a:rPr>
              <a:t>Detailed Statistical Analysis of Vegetation Index in a Single Region Over Time</a:t>
            </a:r>
            <a:endParaRPr kumimoji="0" lang="en-US" sz="1050" b="0" i="0" u="none" strike="noStrike" kern="0" cap="none" spc="0" normalizeH="0" baseline="0" noProof="0" dirty="0">
              <a:ln>
                <a:noFill/>
              </a:ln>
              <a:solidFill>
                <a:srgbClr val="FFFFFF"/>
              </a:solidFill>
              <a:effectLst/>
              <a:uLnTx/>
              <a:uFillTx/>
              <a:latin typeface="Arial"/>
              <a:ea typeface="+mn-lt"/>
              <a:cs typeface="Arial"/>
              <a:sym typeface="+mn-lt"/>
            </a:endParaRPr>
          </a:p>
        </p:txBody>
      </p:sp>
      <p:sp>
        <p:nvSpPr>
          <p:cNvPr id="13" name="Rectangle 12">
            <a:extLst>
              <a:ext uri="{FF2B5EF4-FFF2-40B4-BE49-F238E27FC236}">
                <a16:creationId xmlns:a16="http://schemas.microsoft.com/office/drawing/2014/main" id="{5E2DF2E0-6491-00D7-3FFE-240D6C813E28}"/>
              </a:ext>
            </a:extLst>
          </p:cNvPr>
          <p:cNvSpPr/>
          <p:nvPr/>
        </p:nvSpPr>
        <p:spPr>
          <a:xfrm>
            <a:off x="-4287" y="830756"/>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1. Maximum (0.8)</a:t>
            </a:r>
          </a:p>
        </p:txBody>
      </p:sp>
      <p:sp>
        <p:nvSpPr>
          <p:cNvPr id="26" name="TextBox 25">
            <a:extLst>
              <a:ext uri="{FF2B5EF4-FFF2-40B4-BE49-F238E27FC236}">
                <a16:creationId xmlns:a16="http://schemas.microsoft.com/office/drawing/2014/main" id="{87234D7A-CBBD-8893-D629-6558F21C4813}"/>
              </a:ext>
            </a:extLst>
          </p:cNvPr>
          <p:cNvSpPr txBox="1"/>
          <p:nvPr/>
        </p:nvSpPr>
        <p:spPr>
          <a:xfrm>
            <a:off x="64862" y="1273959"/>
            <a:ext cx="2834952" cy="1754326"/>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and Year: The maximum Vegetation Index (0.8) was recorded in 2022.</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The year 2022 represents the peak vegetation density for this region, indicating optimal environmental conditions or effective resource management. This could be the result of favorable rainfall, government policies, or targeted afforestation projects. Businesses and policymakers should aim to replicate the conditions of this year across other periods to maximize productivity and ecosystem health.</a:t>
            </a:r>
          </a:p>
        </p:txBody>
      </p:sp>
      <p:sp>
        <p:nvSpPr>
          <p:cNvPr id="33" name="Rectangle 32">
            <a:extLst>
              <a:ext uri="{FF2B5EF4-FFF2-40B4-BE49-F238E27FC236}">
                <a16:creationId xmlns:a16="http://schemas.microsoft.com/office/drawing/2014/main" id="{219064F3-CD81-0EB2-D6CD-96E1A1EC1F47}"/>
              </a:ext>
            </a:extLst>
          </p:cNvPr>
          <p:cNvSpPr/>
          <p:nvPr/>
        </p:nvSpPr>
        <p:spPr>
          <a:xfrm>
            <a:off x="3045757" y="830756"/>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12713" marR="0" lvl="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2. Sum (5.1)</a:t>
            </a:r>
          </a:p>
        </p:txBody>
      </p:sp>
      <p:sp>
        <p:nvSpPr>
          <p:cNvPr id="139" name="Rectangle 138">
            <a:extLst>
              <a:ext uri="{FF2B5EF4-FFF2-40B4-BE49-F238E27FC236}">
                <a16:creationId xmlns:a16="http://schemas.microsoft.com/office/drawing/2014/main" id="{B3888C21-A1FC-A4D6-8790-63B70277E6FD}"/>
              </a:ext>
            </a:extLst>
          </p:cNvPr>
          <p:cNvSpPr/>
          <p:nvPr/>
        </p:nvSpPr>
        <p:spPr>
          <a:xfrm>
            <a:off x="6107176" y="830756"/>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12713" marR="0" lvl="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3. Range (0.6)</a:t>
            </a:r>
          </a:p>
        </p:txBody>
      </p:sp>
      <p:sp>
        <p:nvSpPr>
          <p:cNvPr id="169" name="Rectangle 168">
            <a:extLst>
              <a:ext uri="{FF2B5EF4-FFF2-40B4-BE49-F238E27FC236}">
                <a16:creationId xmlns:a16="http://schemas.microsoft.com/office/drawing/2014/main" id="{6EC191C7-6AF6-C53A-46B6-21B42629E7D3}"/>
              </a:ext>
            </a:extLst>
          </p:cNvPr>
          <p:cNvSpPr/>
          <p:nvPr/>
        </p:nvSpPr>
        <p:spPr>
          <a:xfrm>
            <a:off x="9159510" y="830756"/>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marR="0" lvl="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4. Mean (0.51)</a:t>
            </a:r>
          </a:p>
        </p:txBody>
      </p:sp>
      <p:sp>
        <p:nvSpPr>
          <p:cNvPr id="8" name="TextBox 7">
            <a:extLst>
              <a:ext uri="{FF2B5EF4-FFF2-40B4-BE49-F238E27FC236}">
                <a16:creationId xmlns:a16="http://schemas.microsoft.com/office/drawing/2014/main" id="{ECB0AE60-DA96-8515-E020-BF0A57803A8B}"/>
              </a:ext>
            </a:extLst>
          </p:cNvPr>
          <p:cNvSpPr txBox="1"/>
          <p:nvPr/>
        </p:nvSpPr>
        <p:spPr>
          <a:xfrm>
            <a:off x="3100670" y="1273959"/>
            <a:ext cx="2834952" cy="1477328"/>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The total Vegetation Index for the analyzed period is 5.1.</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The sum reflects the cumulative contribution of vegetation over the 10 years. This can be used as an indicator of the region’s overall ecosystem health. A low cumulative value might indicate a need for long-term restoration projects, while maintaining or increasing this value should be a key environmental target.</a:t>
            </a:r>
          </a:p>
        </p:txBody>
      </p:sp>
      <p:sp>
        <p:nvSpPr>
          <p:cNvPr id="10" name="TextBox 9">
            <a:extLst>
              <a:ext uri="{FF2B5EF4-FFF2-40B4-BE49-F238E27FC236}">
                <a16:creationId xmlns:a16="http://schemas.microsoft.com/office/drawing/2014/main" id="{01FD3DAB-4E9D-9EE0-02EC-24F46B836186}"/>
              </a:ext>
            </a:extLst>
          </p:cNvPr>
          <p:cNvSpPr txBox="1"/>
          <p:nvPr/>
        </p:nvSpPr>
        <p:spPr>
          <a:xfrm>
            <a:off x="6207604" y="1273959"/>
            <a:ext cx="2834952" cy="1477328"/>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The difference between the maximum (0.8) and minimum (0.2) vegetation values is 0.6.</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A wide range indicates significant variability in vegetation density. This could be due to environmental instability, such as irregular rainfall or fluctuating temperatures. Businesses should consider investments in adaptive strategies like water conservation technologies or diversified planting schemes to mitigate these fluctuations.</a:t>
            </a:r>
          </a:p>
        </p:txBody>
      </p:sp>
      <p:sp>
        <p:nvSpPr>
          <p:cNvPr id="11" name="TextBox 10">
            <a:extLst>
              <a:ext uri="{FF2B5EF4-FFF2-40B4-BE49-F238E27FC236}">
                <a16:creationId xmlns:a16="http://schemas.microsoft.com/office/drawing/2014/main" id="{0C2EF159-5897-88FE-AED3-0899EB4AD686}"/>
              </a:ext>
            </a:extLst>
          </p:cNvPr>
          <p:cNvSpPr txBox="1"/>
          <p:nvPr/>
        </p:nvSpPr>
        <p:spPr>
          <a:xfrm>
            <a:off x="9265765" y="1278959"/>
            <a:ext cx="2834952" cy="1477328"/>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The average Vegetation Index over the analyzed period is 0.51.</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The mean represents a moderate vegetation density. This serves as a benchmark for evaluating performance in individual years. Policymakers can use this as a baseline to track improvements or declines. For example, years below the mean (e.g., 2018 and 2023) highlight periods requiring additional interventions.</a:t>
            </a:r>
          </a:p>
        </p:txBody>
      </p:sp>
      <p:grpSp>
        <p:nvGrpSpPr>
          <p:cNvPr id="15" name="Group 14">
            <a:extLst>
              <a:ext uri="{FF2B5EF4-FFF2-40B4-BE49-F238E27FC236}">
                <a16:creationId xmlns:a16="http://schemas.microsoft.com/office/drawing/2014/main" id="{5D088CB7-2933-3A0A-6042-32A1923C38B4}"/>
              </a:ext>
            </a:extLst>
          </p:cNvPr>
          <p:cNvGrpSpPr/>
          <p:nvPr/>
        </p:nvGrpSpPr>
        <p:grpSpPr>
          <a:xfrm>
            <a:off x="0" y="3295704"/>
            <a:ext cx="2904101" cy="2059031"/>
            <a:chOff x="0" y="3295704"/>
            <a:chExt cx="2904101" cy="2059031"/>
          </a:xfrm>
        </p:grpSpPr>
        <p:sp>
          <p:nvSpPr>
            <p:cNvPr id="12" name="Rectangle 11">
              <a:extLst>
                <a:ext uri="{FF2B5EF4-FFF2-40B4-BE49-F238E27FC236}">
                  <a16:creationId xmlns:a16="http://schemas.microsoft.com/office/drawing/2014/main" id="{89C778DC-782D-CA4E-B03A-1280BF7B74A9}"/>
                </a:ext>
              </a:extLst>
            </p:cNvPr>
            <p:cNvSpPr/>
            <p:nvPr/>
          </p:nvSpPr>
          <p:spPr>
            <a:xfrm>
              <a:off x="0" y="3295704"/>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5. Standard Deviation (0.16)</a:t>
              </a:r>
            </a:p>
          </p:txBody>
        </p:sp>
        <p:sp>
          <p:nvSpPr>
            <p:cNvPr id="14" name="TextBox 13">
              <a:extLst>
                <a:ext uri="{FF2B5EF4-FFF2-40B4-BE49-F238E27FC236}">
                  <a16:creationId xmlns:a16="http://schemas.microsoft.com/office/drawing/2014/main" id="{3D10174E-9A0C-0BB9-7BAB-3569563B43C1}"/>
                </a:ext>
              </a:extLst>
            </p:cNvPr>
            <p:cNvSpPr txBox="1"/>
            <p:nvPr/>
          </p:nvSpPr>
          <p:spPr>
            <a:xfrm>
              <a:off x="69149" y="3877407"/>
              <a:ext cx="2834952" cy="1477328"/>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The standard deviation is 0.16, reflecting the spread of the data around the mean.</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A low standard deviation suggests that vegetation density has been relatively stable over time. This is ideal for long-term planning and reduces risks associated with extreme variations. Stability in vegetation trends can indicate effective management practices or consistent environmental conditions.</a:t>
              </a:r>
            </a:p>
          </p:txBody>
        </p:sp>
      </p:grpSp>
      <p:grpSp>
        <p:nvGrpSpPr>
          <p:cNvPr id="34" name="Group 33">
            <a:extLst>
              <a:ext uri="{FF2B5EF4-FFF2-40B4-BE49-F238E27FC236}">
                <a16:creationId xmlns:a16="http://schemas.microsoft.com/office/drawing/2014/main" id="{EA236CA4-EA02-274E-BDBA-0151D493D85C}"/>
              </a:ext>
            </a:extLst>
          </p:cNvPr>
          <p:cNvGrpSpPr/>
          <p:nvPr/>
        </p:nvGrpSpPr>
        <p:grpSpPr>
          <a:xfrm>
            <a:off x="3045757" y="3295704"/>
            <a:ext cx="2904101" cy="2059031"/>
            <a:chOff x="0" y="3295704"/>
            <a:chExt cx="2904101" cy="2059031"/>
          </a:xfrm>
        </p:grpSpPr>
        <p:sp>
          <p:nvSpPr>
            <p:cNvPr id="35" name="Rectangle 34">
              <a:extLst>
                <a:ext uri="{FF2B5EF4-FFF2-40B4-BE49-F238E27FC236}">
                  <a16:creationId xmlns:a16="http://schemas.microsoft.com/office/drawing/2014/main" id="{4FC2E2A6-C36F-379D-8C09-DF14081C0597}"/>
                </a:ext>
              </a:extLst>
            </p:cNvPr>
            <p:cNvSpPr/>
            <p:nvPr/>
          </p:nvSpPr>
          <p:spPr>
            <a:xfrm>
              <a:off x="0" y="3295704"/>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defTabSz="914400" rtl="0" eaLnBrk="1" fontAlgn="auto" latinLnBrk="0" hangingPunct="1">
                <a:lnSpc>
                  <a:spcPct val="100000"/>
                </a:lnSpc>
                <a:spcBef>
                  <a:spcPts val="0"/>
                </a:spcBef>
                <a:spcAft>
                  <a:spcPts val="0"/>
                </a:spcAft>
                <a:buClrTx/>
                <a:buSzTx/>
                <a:buFontTx/>
                <a:buNone/>
                <a:tabLst/>
                <a:defRPr/>
              </a:pPr>
              <a:r>
                <a:rPr lang="en-US" sz="1000" b="1" dirty="0">
                  <a:solidFill>
                    <a:srgbClr val="222A35"/>
                  </a:solidFill>
                  <a:latin typeface="Arial"/>
                  <a:ea typeface="+mn-lt"/>
                  <a:cs typeface="Arial"/>
                  <a:sym typeface="+mn-lt"/>
                </a:rPr>
                <a:t>6</a:t>
              </a: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 Skewness (0.1)</a:t>
              </a:r>
            </a:p>
          </p:txBody>
        </p:sp>
        <p:sp>
          <p:nvSpPr>
            <p:cNvPr id="36" name="TextBox 35">
              <a:extLst>
                <a:ext uri="{FF2B5EF4-FFF2-40B4-BE49-F238E27FC236}">
                  <a16:creationId xmlns:a16="http://schemas.microsoft.com/office/drawing/2014/main" id="{FE995F26-EBDC-DFFE-D9F3-0AC57D2EC5D4}"/>
                </a:ext>
              </a:extLst>
            </p:cNvPr>
            <p:cNvSpPr txBox="1"/>
            <p:nvPr/>
          </p:nvSpPr>
          <p:spPr>
            <a:xfrm>
              <a:off x="69149" y="3877407"/>
              <a:ext cx="2834952" cy="1477328"/>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Skewness is 0.1, showing a slight positive tilt in the data.</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The slight positive skewness suggests incremental improvement in vegetation density, especially in the later years (e.g., 2021, 2022, and 2024). This reflects favorable conditions or successful interventions that gradually increased vegetation density. Policymakers should focus on sustaining this upward trend.</a:t>
              </a:r>
            </a:p>
          </p:txBody>
        </p:sp>
      </p:grpSp>
      <p:grpSp>
        <p:nvGrpSpPr>
          <p:cNvPr id="38" name="Group 37">
            <a:extLst>
              <a:ext uri="{FF2B5EF4-FFF2-40B4-BE49-F238E27FC236}">
                <a16:creationId xmlns:a16="http://schemas.microsoft.com/office/drawing/2014/main" id="{718353FA-F836-1791-9687-66B090578AC9}"/>
              </a:ext>
            </a:extLst>
          </p:cNvPr>
          <p:cNvGrpSpPr/>
          <p:nvPr/>
        </p:nvGrpSpPr>
        <p:grpSpPr>
          <a:xfrm>
            <a:off x="6099309" y="3295704"/>
            <a:ext cx="2904101" cy="2059031"/>
            <a:chOff x="0" y="3295704"/>
            <a:chExt cx="2904101" cy="2059031"/>
          </a:xfrm>
        </p:grpSpPr>
        <p:sp>
          <p:nvSpPr>
            <p:cNvPr id="39" name="Rectangle 38">
              <a:extLst>
                <a:ext uri="{FF2B5EF4-FFF2-40B4-BE49-F238E27FC236}">
                  <a16:creationId xmlns:a16="http://schemas.microsoft.com/office/drawing/2014/main" id="{43AD6248-3A8D-3C64-5936-00A365BD42D0}"/>
                </a:ext>
              </a:extLst>
            </p:cNvPr>
            <p:cNvSpPr/>
            <p:nvPr/>
          </p:nvSpPr>
          <p:spPr>
            <a:xfrm>
              <a:off x="0" y="3295704"/>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defTabSz="914400" rtl="0" eaLnBrk="1" fontAlgn="auto" latinLnBrk="0" hangingPunct="1">
                <a:lnSpc>
                  <a:spcPct val="100000"/>
                </a:lnSpc>
                <a:spcBef>
                  <a:spcPts val="0"/>
                </a:spcBef>
                <a:spcAft>
                  <a:spcPts val="0"/>
                </a:spcAft>
                <a:buClrTx/>
                <a:buSzTx/>
                <a:buFontTx/>
                <a:buNone/>
                <a:tabLst/>
                <a:defRPr/>
              </a:pPr>
              <a:r>
                <a:rPr lang="en-US" sz="1000" b="1" dirty="0">
                  <a:solidFill>
                    <a:srgbClr val="222A35"/>
                  </a:solidFill>
                  <a:latin typeface="Arial"/>
                  <a:ea typeface="+mn-lt"/>
                  <a:cs typeface="Arial"/>
                  <a:sym typeface="+mn-lt"/>
                </a:rPr>
                <a:t>7. Kurtosis (3.2)</a:t>
              </a:r>
              <a:endParaRPr kumimoji="0" lang="en-US" sz="1000" b="1" i="0" u="none" strike="noStrike" kern="1200" cap="none" spc="0" normalizeH="0" baseline="0" noProof="0" dirty="0">
                <a:ln>
                  <a:noFill/>
                </a:ln>
                <a:solidFill>
                  <a:srgbClr val="222A35"/>
                </a:solidFill>
                <a:effectLst/>
                <a:uLnTx/>
                <a:uFillTx/>
                <a:latin typeface="Arial"/>
                <a:ea typeface="+mn-lt"/>
                <a:cs typeface="Arial"/>
                <a:sym typeface="+mn-lt"/>
              </a:endParaRPr>
            </a:p>
          </p:txBody>
        </p:sp>
        <p:sp>
          <p:nvSpPr>
            <p:cNvPr id="47" name="TextBox 46">
              <a:extLst>
                <a:ext uri="{FF2B5EF4-FFF2-40B4-BE49-F238E27FC236}">
                  <a16:creationId xmlns:a16="http://schemas.microsoft.com/office/drawing/2014/main" id="{10E0CEE4-ADAC-1A9D-992A-2FBDCE883644}"/>
                </a:ext>
              </a:extLst>
            </p:cNvPr>
            <p:cNvSpPr txBox="1"/>
            <p:nvPr/>
          </p:nvSpPr>
          <p:spPr>
            <a:xfrm>
              <a:off x="69149" y="3877407"/>
              <a:ext cx="2834952" cy="1477328"/>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The kurtosis value of 3.2 indicates a moderate number of outliers.</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Moderate kurtosis reflects occasional extreme values, such as the low vegetation density in 2018 and the high in 2022. These extremes may be linked to significant climatic events or policy changes. Understanding these outliers can help develop adaptive strategies to mitigate risks or capitalize on favorable conditions.</a:t>
              </a:r>
            </a:p>
          </p:txBody>
        </p:sp>
      </p:grpSp>
      <p:grpSp>
        <p:nvGrpSpPr>
          <p:cNvPr id="52" name="Group 51">
            <a:extLst>
              <a:ext uri="{FF2B5EF4-FFF2-40B4-BE49-F238E27FC236}">
                <a16:creationId xmlns:a16="http://schemas.microsoft.com/office/drawing/2014/main" id="{8AC65844-9A4E-F42D-7BEC-227DDFE5D3E7}"/>
              </a:ext>
            </a:extLst>
          </p:cNvPr>
          <p:cNvGrpSpPr/>
          <p:nvPr/>
        </p:nvGrpSpPr>
        <p:grpSpPr>
          <a:xfrm>
            <a:off x="9159510" y="3295704"/>
            <a:ext cx="2904101" cy="2266781"/>
            <a:chOff x="0" y="3295704"/>
            <a:chExt cx="2904101" cy="2266781"/>
          </a:xfrm>
        </p:grpSpPr>
        <p:sp>
          <p:nvSpPr>
            <p:cNvPr id="56" name="Rectangle 55">
              <a:extLst>
                <a:ext uri="{FF2B5EF4-FFF2-40B4-BE49-F238E27FC236}">
                  <a16:creationId xmlns:a16="http://schemas.microsoft.com/office/drawing/2014/main" id="{CF502787-8FE9-3171-25D3-0E01B815E64D}"/>
                </a:ext>
              </a:extLst>
            </p:cNvPr>
            <p:cNvSpPr/>
            <p:nvPr/>
          </p:nvSpPr>
          <p:spPr>
            <a:xfrm>
              <a:off x="0" y="3295704"/>
              <a:ext cx="237744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defTabSz="914400" rtl="0" eaLnBrk="1" fontAlgn="auto" latinLnBrk="0" hangingPunct="1">
                <a:lnSpc>
                  <a:spcPct val="100000"/>
                </a:lnSpc>
                <a:spcBef>
                  <a:spcPts val="0"/>
                </a:spcBef>
                <a:spcAft>
                  <a:spcPts val="0"/>
                </a:spcAft>
                <a:buClrTx/>
                <a:buSzTx/>
                <a:buFontTx/>
                <a:buNone/>
                <a:tabLst/>
                <a:defRPr/>
              </a:pPr>
              <a:r>
                <a:rPr lang="en-US" sz="1000" b="1" dirty="0">
                  <a:solidFill>
                    <a:srgbClr val="222A35"/>
                  </a:solidFill>
                  <a:latin typeface="Arial"/>
                  <a:ea typeface="+mn-lt"/>
                  <a:cs typeface="Arial"/>
                  <a:sym typeface="+mn-lt"/>
                </a:rPr>
                <a:t>8. Outliers (2018, 2022)</a:t>
              </a:r>
              <a:endParaRPr kumimoji="0" lang="en-US" sz="1000" b="1" i="0" u="none" strike="noStrike" kern="1200" cap="none" spc="0" normalizeH="0" baseline="0" noProof="0" dirty="0">
                <a:ln>
                  <a:noFill/>
                </a:ln>
                <a:solidFill>
                  <a:srgbClr val="222A35"/>
                </a:solidFill>
                <a:effectLst/>
                <a:uLnTx/>
                <a:uFillTx/>
                <a:latin typeface="Arial"/>
                <a:ea typeface="+mn-lt"/>
                <a:cs typeface="Arial"/>
                <a:sym typeface="+mn-lt"/>
              </a:endParaRPr>
            </a:p>
          </p:txBody>
        </p:sp>
        <p:sp>
          <p:nvSpPr>
            <p:cNvPr id="57" name="TextBox 56">
              <a:extLst>
                <a:ext uri="{FF2B5EF4-FFF2-40B4-BE49-F238E27FC236}">
                  <a16:creationId xmlns:a16="http://schemas.microsoft.com/office/drawing/2014/main" id="{3598B725-F0C6-6944-DC9A-B48075741DDB}"/>
                </a:ext>
              </a:extLst>
            </p:cNvPr>
            <p:cNvSpPr txBox="1"/>
            <p:nvPr/>
          </p:nvSpPr>
          <p:spPr>
            <a:xfrm>
              <a:off x="69149" y="3669659"/>
              <a:ext cx="2834952" cy="1892826"/>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Value: Two key outliers are identified:</a:t>
              </a:r>
            </a:p>
            <a:p>
              <a:pPr marL="34290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2018 (0.2): The lowest vegetation density recorded, possibly due to drought or environmental degradation.</a:t>
              </a:r>
            </a:p>
            <a:p>
              <a:pPr marL="34290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2022 (0.8): The highest vegetation density recorded, likely reflecting optimal conditions or interventions.</a:t>
              </a: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sz="90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pretation: Outliers are critical for understanding the dynamics of vegetation. While 2022 provides insights into best practices for vegetation enhancement, 2018 signals a period requiring immediate intervention to avoid further deterioration.</a:t>
              </a:r>
            </a:p>
          </p:txBody>
        </p:sp>
      </p:grpSp>
    </p:spTree>
    <p:extLst>
      <p:ext uri="{BB962C8B-B14F-4D97-AF65-F5344CB8AC3E}">
        <p14:creationId xmlns:p14="http://schemas.microsoft.com/office/powerpoint/2010/main" val="39880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892A0-E058-0E6A-1E68-CAC2617C113E}"/>
            </a:ext>
          </a:extLst>
        </p:cNvPr>
        <p:cNvGrpSpPr/>
        <p:nvPr/>
      </p:nvGrpSpPr>
      <p:grpSpPr>
        <a:xfrm>
          <a:off x="0" y="0"/>
          <a:ext cx="0" cy="0"/>
          <a:chOff x="0" y="0"/>
          <a:chExt cx="0" cy="0"/>
        </a:xfrm>
      </p:grpSpPr>
      <p:grpSp>
        <p:nvGrpSpPr>
          <p:cNvPr id="16" name="Group 15">
            <a:extLst>
              <a:ext uri="{FF2B5EF4-FFF2-40B4-BE49-F238E27FC236}">
                <a16:creationId xmlns:a16="http://schemas.microsoft.com/office/drawing/2014/main" id="{3F56F345-411F-4CA6-F2C8-8A30D6E83DEC}"/>
              </a:ext>
            </a:extLst>
          </p:cNvPr>
          <p:cNvGrpSpPr/>
          <p:nvPr/>
        </p:nvGrpSpPr>
        <p:grpSpPr>
          <a:xfrm>
            <a:off x="-9144" y="14"/>
            <a:ext cx="12201144" cy="6858000"/>
            <a:chOff x="11541" y="6151"/>
            <a:chExt cx="12201144" cy="6858000"/>
          </a:xfrm>
        </p:grpSpPr>
        <p:sp>
          <p:nvSpPr>
            <p:cNvPr id="3" name="Rectangle 2">
              <a:extLst>
                <a:ext uri="{FF2B5EF4-FFF2-40B4-BE49-F238E27FC236}">
                  <a16:creationId xmlns:a16="http://schemas.microsoft.com/office/drawing/2014/main" id="{C624D04B-8B2C-36E7-903D-A5D17F4F40F3}"/>
                </a:ext>
              </a:extLst>
            </p:cNvPr>
            <p:cNvSpPr/>
            <p:nvPr/>
          </p:nvSpPr>
          <p:spPr>
            <a:xfrm>
              <a:off x="11541" y="6151"/>
              <a:ext cx="6015892" cy="6858000"/>
            </a:xfrm>
            <a:prstGeom prst="rect">
              <a:avLst/>
            </a:prstGeom>
            <a:solidFill>
              <a:srgbClr val="222A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56A6D"/>
                </a:solidFill>
                <a:effectLst/>
                <a:uLnTx/>
                <a:uFillTx/>
                <a:latin typeface="Arial"/>
                <a:ea typeface="+mn-ea"/>
                <a:cs typeface="+mn-cs"/>
              </a:endParaRPr>
            </a:p>
          </p:txBody>
        </p:sp>
        <p:sp>
          <p:nvSpPr>
            <p:cNvPr id="6" name="Rectangle 5">
              <a:extLst>
                <a:ext uri="{FF2B5EF4-FFF2-40B4-BE49-F238E27FC236}">
                  <a16:creationId xmlns:a16="http://schemas.microsoft.com/office/drawing/2014/main" id="{F6DC857C-37DA-E556-03EC-E5E8E3608E23}"/>
                </a:ext>
              </a:extLst>
            </p:cNvPr>
            <p:cNvSpPr/>
            <p:nvPr/>
          </p:nvSpPr>
          <p:spPr>
            <a:xfrm>
              <a:off x="6127861" y="6151"/>
              <a:ext cx="6084824" cy="6858000"/>
            </a:xfrm>
            <a:prstGeom prst="rect">
              <a:avLst/>
            </a:prstGeom>
            <a:solidFill>
              <a:srgbClr val="4A5B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56A6D"/>
                </a:solidFill>
                <a:effectLst/>
                <a:uLnTx/>
                <a:uFillTx/>
                <a:latin typeface="Arial"/>
                <a:ea typeface="+mn-ea"/>
                <a:cs typeface="+mn-cs"/>
              </a:endParaRPr>
            </a:p>
          </p:txBody>
        </p:sp>
      </p:grpSp>
      <p:grpSp>
        <p:nvGrpSpPr>
          <p:cNvPr id="2" name="Group 1">
            <a:extLst>
              <a:ext uri="{FF2B5EF4-FFF2-40B4-BE49-F238E27FC236}">
                <a16:creationId xmlns:a16="http://schemas.microsoft.com/office/drawing/2014/main" id="{A5A119F9-9760-7350-FDAA-814CFC36C106}"/>
              </a:ext>
            </a:extLst>
          </p:cNvPr>
          <p:cNvGrpSpPr/>
          <p:nvPr/>
        </p:nvGrpSpPr>
        <p:grpSpPr>
          <a:xfrm>
            <a:off x="-4287" y="830756"/>
            <a:ext cx="5847690" cy="3638387"/>
            <a:chOff x="-4287" y="830756"/>
            <a:chExt cx="5847690" cy="3638387"/>
          </a:xfrm>
        </p:grpSpPr>
        <p:sp>
          <p:nvSpPr>
            <p:cNvPr id="13" name="Rectangle 12">
              <a:extLst>
                <a:ext uri="{FF2B5EF4-FFF2-40B4-BE49-F238E27FC236}">
                  <a16:creationId xmlns:a16="http://schemas.microsoft.com/office/drawing/2014/main" id="{7E8CAEB2-3BEC-7C97-6F3C-0F7EF3545B3C}"/>
                </a:ext>
              </a:extLst>
            </p:cNvPr>
            <p:cNvSpPr/>
            <p:nvPr/>
          </p:nvSpPr>
          <p:spPr>
            <a:xfrm>
              <a:off x="-4287" y="830756"/>
              <a:ext cx="338328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Detailed Insights Based on Business Context</a:t>
              </a:r>
            </a:p>
          </p:txBody>
        </p:sp>
        <p:sp>
          <p:nvSpPr>
            <p:cNvPr id="26" name="TextBox 25">
              <a:extLst>
                <a:ext uri="{FF2B5EF4-FFF2-40B4-BE49-F238E27FC236}">
                  <a16:creationId xmlns:a16="http://schemas.microsoft.com/office/drawing/2014/main" id="{F28A0612-5803-3803-F1F8-98C6B7719659}"/>
                </a:ext>
              </a:extLst>
            </p:cNvPr>
            <p:cNvSpPr txBox="1"/>
            <p:nvPr/>
          </p:nvSpPr>
          <p:spPr>
            <a:xfrm>
              <a:off x="72061" y="1306739"/>
              <a:ext cx="5771342" cy="3162404"/>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Peak Years (Maximum):Leverage insights from 2022 to identify and replicate favorable conditions in other years. For example, if rainfall or policy interventions were effective, ensure their continuity or expansion.</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Consistency (Mean and Std. Dev):The relatively consistent vegetation trends (low standard deviation) suggest a stable environment. Use this to build predictive models for vegetation health and long-term planning.</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Addressing Variability (Range and Variance):The high range signals a need to reduce fluctuations in vegetation density. Implementing adaptive strategies like irrigation systems or reforestation can stabilize trend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Extreme Events (Outliers and Kurtosis):Outliers in 2018 and 2022 highlight the need for resilience in environmental policies. While high kurtosis points to rare events, their significant impact requires contingency planning.</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Positive Trends (Skewness):The slight positive skew reflects a gradual improvement in vegetation density over the years. Policymakers should aim to maintain this trajectory by investing in proven interventions.</a:t>
              </a:r>
            </a:p>
          </p:txBody>
        </p:sp>
      </p:grpSp>
      <p:grpSp>
        <p:nvGrpSpPr>
          <p:cNvPr id="4" name="Group 3">
            <a:extLst>
              <a:ext uri="{FF2B5EF4-FFF2-40B4-BE49-F238E27FC236}">
                <a16:creationId xmlns:a16="http://schemas.microsoft.com/office/drawing/2014/main" id="{BE89A068-0A40-5584-3B88-5C8E87ECA220}"/>
              </a:ext>
            </a:extLst>
          </p:cNvPr>
          <p:cNvGrpSpPr/>
          <p:nvPr/>
        </p:nvGrpSpPr>
        <p:grpSpPr>
          <a:xfrm>
            <a:off x="6107176" y="830756"/>
            <a:ext cx="5847690" cy="2856875"/>
            <a:chOff x="-4287" y="830756"/>
            <a:chExt cx="5847690" cy="2856875"/>
          </a:xfrm>
        </p:grpSpPr>
        <p:sp>
          <p:nvSpPr>
            <p:cNvPr id="9" name="Rectangle 8">
              <a:extLst>
                <a:ext uri="{FF2B5EF4-FFF2-40B4-BE49-F238E27FC236}">
                  <a16:creationId xmlns:a16="http://schemas.microsoft.com/office/drawing/2014/main" id="{06EC0831-2EE2-FC8D-19CA-B3D34672981A}"/>
                </a:ext>
              </a:extLst>
            </p:cNvPr>
            <p:cNvSpPr/>
            <p:nvPr/>
          </p:nvSpPr>
          <p:spPr>
            <a:xfrm>
              <a:off x="-4287" y="830756"/>
              <a:ext cx="3383280" cy="24622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738"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22A35"/>
                  </a:solidFill>
                  <a:effectLst/>
                  <a:uLnTx/>
                  <a:uFillTx/>
                  <a:latin typeface="Arial"/>
                  <a:ea typeface="+mn-lt"/>
                  <a:cs typeface="Arial"/>
                  <a:sym typeface="+mn-lt"/>
                </a:rPr>
                <a:t>Recommendations for Decision-Making</a:t>
              </a:r>
            </a:p>
          </p:txBody>
        </p:sp>
        <p:sp>
          <p:nvSpPr>
            <p:cNvPr id="17" name="TextBox 16">
              <a:extLst>
                <a:ext uri="{FF2B5EF4-FFF2-40B4-BE49-F238E27FC236}">
                  <a16:creationId xmlns:a16="http://schemas.microsoft.com/office/drawing/2014/main" id="{CB5447EC-7B74-C999-34F1-1D3ECE3FDE47}"/>
                </a:ext>
              </a:extLst>
            </p:cNvPr>
            <p:cNvSpPr txBox="1"/>
            <p:nvPr/>
          </p:nvSpPr>
          <p:spPr>
            <a:xfrm>
              <a:off x="72061" y="1333140"/>
              <a:ext cx="5771342" cy="2354491"/>
            </a:xfrm>
            <a:prstGeom prst="rect">
              <a:avLst/>
            </a:prstGeom>
            <a:noFill/>
          </p:spPr>
          <p:txBody>
            <a:bodyPr wrap="square" lIns="0" rIns="0" rtlCol="0" anchor="ctr">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Policy Focus: Develop policies that replicate the conditions of peak years like 2022 while addressing challenges seen in years like 2018.</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Sustainability: Use the cumulative Vegetation Index as a measure of long-term ecosystem health and focus on increasing this valu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Stability Measures: Address variability through targeted interventions that reduce environmental risks and fluctuation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Forecasting and Planning: Incorporate insights from statistical measures into forecasting models to support proactive decision-maki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dirty="0">
                <a:solidFill>
                  <a:srgbClr val="FFFFFF"/>
                </a:solidFill>
                <a:latin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a:ea typeface="+mn-ea"/>
                  <a:cs typeface="+mn-cs"/>
                </a:rPr>
                <a:t>Adaptation Strategies: Analyze outliers and kurtosis to prepare for extreme events, ensuring resilience in resource management.</a:t>
              </a:r>
            </a:p>
          </p:txBody>
        </p:sp>
      </p:grpSp>
    </p:spTree>
    <p:extLst>
      <p:ext uri="{BB962C8B-B14F-4D97-AF65-F5344CB8AC3E}">
        <p14:creationId xmlns:p14="http://schemas.microsoft.com/office/powerpoint/2010/main" val="91804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470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4">
            <a:extLst>
              <a:ext uri="{FF2B5EF4-FFF2-40B4-BE49-F238E27FC236}">
                <a16:creationId xmlns:a16="http://schemas.microsoft.com/office/drawing/2014/main" id="{1E534A12-E9A9-D60A-57D7-3B6F84951E63}"/>
              </a:ext>
            </a:extLst>
          </p:cNvPr>
          <p:cNvSpPr txBox="1">
            <a:spLocks/>
          </p:cNvSpPr>
          <p:nvPr/>
        </p:nvSpPr>
        <p:spPr>
          <a:xfrm>
            <a:off x="1524000" y="5561422"/>
            <a:ext cx="9144000" cy="656979"/>
          </a:xfrm>
          <a:prstGeom prst="rect">
            <a:avLst/>
          </a:prstGeom>
        </p:spPr>
        <p:txBody>
          <a:bodyPr vert="horz" lIns="91440" tIns="45720" rIns="91440" bIns="45720" rtlCol="0">
            <a:normAutofit fontScale="77500" lnSpcReduction="2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Line Chart: Trend of Vegetation Index</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800" b="0"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This chart shows the trend of the Vegetation Index over the years, highlighting changes in vegetation conditions. It helps identify patterns or anomalies in vegetation growth over time.</a:t>
            </a:r>
          </a:p>
        </p:txBody>
      </p:sp>
      <p:pic>
        <p:nvPicPr>
          <p:cNvPr id="5" name="Picture 4">
            <a:extLst>
              <a:ext uri="{FF2B5EF4-FFF2-40B4-BE49-F238E27FC236}">
                <a16:creationId xmlns:a16="http://schemas.microsoft.com/office/drawing/2014/main" id="{B870A5E4-6258-6814-9F78-0C97039EFD1C}"/>
              </a:ext>
            </a:extLst>
          </p:cNvPr>
          <p:cNvPicPr>
            <a:picLocks noChangeAspect="1"/>
          </p:cNvPicPr>
          <p:nvPr/>
        </p:nvPicPr>
        <p:blipFill>
          <a:blip r:embed="rId2"/>
          <a:stretch>
            <a:fillRect/>
          </a:stretch>
        </p:blipFill>
        <p:spPr>
          <a:xfrm>
            <a:off x="2660917" y="377559"/>
            <a:ext cx="6870167" cy="4457309"/>
          </a:xfrm>
          <a:prstGeom prst="rect">
            <a:avLst/>
          </a:prstGeom>
        </p:spPr>
      </p:pic>
    </p:spTree>
    <p:extLst>
      <p:ext uri="{BB962C8B-B14F-4D97-AF65-F5344CB8AC3E}">
        <p14:creationId xmlns:p14="http://schemas.microsoft.com/office/powerpoint/2010/main" val="3949802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DA062-D2ED-181A-7F1B-22941096B28F}"/>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E9C5BE7A-F455-110C-8DB6-594FEB75BE93}"/>
              </a:ext>
            </a:extLst>
          </p:cNvPr>
          <p:cNvSpPr txBox="1">
            <a:spLocks/>
          </p:cNvSpPr>
          <p:nvPr/>
        </p:nvSpPr>
        <p:spPr>
          <a:xfrm>
            <a:off x="1027471" y="5402140"/>
            <a:ext cx="10137058" cy="1063553"/>
          </a:xfrm>
          <a:prstGeom prst="rect">
            <a:avLst/>
          </a:prstGeom>
        </p:spPr>
        <p:txBody>
          <a:bodyPr vert="horz" lIns="91440" tIns="45720" rIns="91440" bIns="45720" rtlCol="0">
            <a:normAutofit/>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Scatter Plot of Vegetation Index Over Years with Changes</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scatter plot represents the Vegetation Index across different years, with color-coded markers indicating the type of change: green for positive changes, red for negative changes, and gray for unknown changes. It provides a clear visual of how the index fluctuated over time and the nature of the changes.</a:t>
            </a:r>
          </a:p>
        </p:txBody>
      </p:sp>
      <p:pic>
        <p:nvPicPr>
          <p:cNvPr id="3" name="Picture 2">
            <a:extLst>
              <a:ext uri="{FF2B5EF4-FFF2-40B4-BE49-F238E27FC236}">
                <a16:creationId xmlns:a16="http://schemas.microsoft.com/office/drawing/2014/main" id="{13611B03-68A7-14B7-ED63-19AED6C427E4}"/>
              </a:ext>
            </a:extLst>
          </p:cNvPr>
          <p:cNvPicPr>
            <a:picLocks noChangeAspect="1"/>
          </p:cNvPicPr>
          <p:nvPr/>
        </p:nvPicPr>
        <p:blipFill>
          <a:blip r:embed="rId2"/>
          <a:stretch>
            <a:fillRect/>
          </a:stretch>
        </p:blipFill>
        <p:spPr>
          <a:xfrm>
            <a:off x="2245012" y="165182"/>
            <a:ext cx="7701976" cy="4996980"/>
          </a:xfrm>
          <a:prstGeom prst="rect">
            <a:avLst/>
          </a:prstGeom>
        </p:spPr>
      </p:pic>
    </p:spTree>
    <p:extLst>
      <p:ext uri="{BB962C8B-B14F-4D97-AF65-F5344CB8AC3E}">
        <p14:creationId xmlns:p14="http://schemas.microsoft.com/office/powerpoint/2010/main" val="29826097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FA978F-00E1-A02F-F761-A8A96212A420}"/>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7D83DC15-52FC-DDE3-5692-35A171AE5413}"/>
              </a:ext>
            </a:extLst>
          </p:cNvPr>
          <p:cNvSpPr txBox="1">
            <a:spLocks/>
          </p:cNvSpPr>
          <p:nvPr/>
        </p:nvSpPr>
        <p:spPr>
          <a:xfrm>
            <a:off x="1088430" y="5561422"/>
            <a:ext cx="10015138" cy="963264"/>
          </a:xfrm>
          <a:prstGeom prst="rect">
            <a:avLst/>
          </a:prstGeom>
        </p:spPr>
        <p:txBody>
          <a:bodyPr vert="horz" lIns="91440" tIns="45720" rIns="91440" bIns="45720" rtlCol="0">
            <a:normAutofit lnSpcReduction="1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Heatmap of Vegetation Index Over Years</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heatmap visualizes the intensity of the Vegetation Index across different years using a color gradient. Darker colors represent higher values, while lighter colors indicate lower values, allowing for an intuitive comparison of vegetation trends over time.</a:t>
            </a:r>
          </a:p>
        </p:txBody>
      </p:sp>
      <p:pic>
        <p:nvPicPr>
          <p:cNvPr id="3" name="Picture 2">
            <a:extLst>
              <a:ext uri="{FF2B5EF4-FFF2-40B4-BE49-F238E27FC236}">
                <a16:creationId xmlns:a16="http://schemas.microsoft.com/office/drawing/2014/main" id="{F2330071-FEF2-2F15-F7AD-9D7CA926CA80}"/>
              </a:ext>
            </a:extLst>
          </p:cNvPr>
          <p:cNvPicPr>
            <a:picLocks noChangeAspect="1"/>
          </p:cNvPicPr>
          <p:nvPr/>
        </p:nvPicPr>
        <p:blipFill>
          <a:blip r:embed="rId2"/>
          <a:stretch>
            <a:fillRect/>
          </a:stretch>
        </p:blipFill>
        <p:spPr>
          <a:xfrm>
            <a:off x="3200193" y="188779"/>
            <a:ext cx="5791614" cy="4784377"/>
          </a:xfrm>
          <a:prstGeom prst="rect">
            <a:avLst/>
          </a:prstGeom>
        </p:spPr>
      </p:pic>
    </p:spTree>
    <p:extLst>
      <p:ext uri="{BB962C8B-B14F-4D97-AF65-F5344CB8AC3E}">
        <p14:creationId xmlns:p14="http://schemas.microsoft.com/office/powerpoint/2010/main" val="803524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9EE8BF-A907-AD34-669B-D142EB68986A}"/>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8E4D7BE5-D0D6-D2FB-8DCB-3FA07ED7037D}"/>
              </a:ext>
            </a:extLst>
          </p:cNvPr>
          <p:cNvSpPr txBox="1">
            <a:spLocks/>
          </p:cNvSpPr>
          <p:nvPr/>
        </p:nvSpPr>
        <p:spPr>
          <a:xfrm>
            <a:off x="1088430" y="5561422"/>
            <a:ext cx="10015138" cy="963264"/>
          </a:xfrm>
          <a:prstGeom prst="rect">
            <a:avLst/>
          </a:prstGeom>
        </p:spPr>
        <p:txBody>
          <a:bodyPr vert="horz" lIns="91440" tIns="45720" rIns="91440" bIns="45720" rtlCol="0">
            <a:normAutofit lnSpcReduction="1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Cumulative Chart of Vegetation Index Over Years</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line chart shows the cumulative Vegetation Index over the years, representing the overall growth or accumulation of vegetation conditions. The upward trend highlights consistent increases in the index, indicating improved vegetation coverage or conditions over time.</a:t>
            </a:r>
          </a:p>
        </p:txBody>
      </p:sp>
      <p:pic>
        <p:nvPicPr>
          <p:cNvPr id="3" name="Picture 2">
            <a:extLst>
              <a:ext uri="{FF2B5EF4-FFF2-40B4-BE49-F238E27FC236}">
                <a16:creationId xmlns:a16="http://schemas.microsoft.com/office/drawing/2014/main" id="{A51CB58B-E7F1-C54E-9BED-30129292338F}"/>
              </a:ext>
            </a:extLst>
          </p:cNvPr>
          <p:cNvPicPr>
            <a:picLocks noChangeAspect="1"/>
          </p:cNvPicPr>
          <p:nvPr/>
        </p:nvPicPr>
        <p:blipFill>
          <a:blip r:embed="rId2"/>
          <a:stretch>
            <a:fillRect/>
          </a:stretch>
        </p:blipFill>
        <p:spPr>
          <a:xfrm>
            <a:off x="2566213" y="333314"/>
            <a:ext cx="7059573" cy="4668222"/>
          </a:xfrm>
          <a:prstGeom prst="rect">
            <a:avLst/>
          </a:prstGeom>
        </p:spPr>
      </p:pic>
    </p:spTree>
    <p:extLst>
      <p:ext uri="{BB962C8B-B14F-4D97-AF65-F5344CB8AC3E}">
        <p14:creationId xmlns:p14="http://schemas.microsoft.com/office/powerpoint/2010/main" val="2948126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E76DC-035B-082B-FB00-3850FB60E3FA}"/>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85EDF37E-2302-66BA-51F9-8EE2821BC415}"/>
              </a:ext>
            </a:extLst>
          </p:cNvPr>
          <p:cNvSpPr txBox="1">
            <a:spLocks/>
          </p:cNvSpPr>
          <p:nvPr/>
        </p:nvSpPr>
        <p:spPr>
          <a:xfrm>
            <a:off x="1088430" y="5561422"/>
            <a:ext cx="10015138" cy="963264"/>
          </a:xfrm>
          <a:prstGeom prst="rect">
            <a:avLst/>
          </a:prstGeom>
        </p:spPr>
        <p:txBody>
          <a:bodyPr vert="horz" lIns="91440" tIns="45720" rIns="91440" bIns="45720" rtlCol="0">
            <a:normAutofit/>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Distribution of Vegetation Index Changes</a:t>
            </a:r>
            <a:endParaRPr kumimoji="0" lang="ar-JO"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bar chart illustrates the frequency of Vegetation Index changes categorized as positive, negative, and equaled. It shows that positive changes are the most frequent, followed by negative changes, with equaled changes being the least frequent.</a:t>
            </a:r>
          </a:p>
        </p:txBody>
      </p:sp>
      <p:pic>
        <p:nvPicPr>
          <p:cNvPr id="5" name="Picture 4">
            <a:extLst>
              <a:ext uri="{FF2B5EF4-FFF2-40B4-BE49-F238E27FC236}">
                <a16:creationId xmlns:a16="http://schemas.microsoft.com/office/drawing/2014/main" id="{6B74AD80-0742-9B66-A247-243D445D7FE8}"/>
              </a:ext>
            </a:extLst>
          </p:cNvPr>
          <p:cNvPicPr>
            <a:picLocks noChangeAspect="1"/>
          </p:cNvPicPr>
          <p:nvPr/>
        </p:nvPicPr>
        <p:blipFill>
          <a:blip r:embed="rId2"/>
          <a:stretch>
            <a:fillRect/>
          </a:stretch>
        </p:blipFill>
        <p:spPr>
          <a:xfrm>
            <a:off x="3279026" y="460150"/>
            <a:ext cx="5633947" cy="4577842"/>
          </a:xfrm>
          <a:prstGeom prst="rect">
            <a:avLst/>
          </a:prstGeom>
        </p:spPr>
      </p:pic>
    </p:spTree>
    <p:extLst>
      <p:ext uri="{BB962C8B-B14F-4D97-AF65-F5344CB8AC3E}">
        <p14:creationId xmlns:p14="http://schemas.microsoft.com/office/powerpoint/2010/main" val="1327382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47CAD-EC2B-2352-1641-172D152F92CB}"/>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B0E7C2EB-7A92-FECF-A46D-C06558691097}"/>
              </a:ext>
            </a:extLst>
          </p:cNvPr>
          <p:cNvSpPr txBox="1">
            <a:spLocks/>
          </p:cNvSpPr>
          <p:nvPr/>
        </p:nvSpPr>
        <p:spPr>
          <a:xfrm>
            <a:off x="1088430" y="5561422"/>
            <a:ext cx="10015138" cy="963264"/>
          </a:xfrm>
          <a:prstGeom prst="rect">
            <a:avLst/>
          </a:prstGeom>
        </p:spPr>
        <p:txBody>
          <a:bodyPr vert="horz" lIns="91440" tIns="45720" rIns="91440" bIns="45720" rtlCol="0">
            <a:normAutofit lnSpcReduction="1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Vegetation Index and Yearly Change</a:t>
            </a:r>
            <a:endParaRPr kumimoji="0" lang="ar-JO"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chart combines a bar chart and a line graph to illustrate the Vegetation Index (in blue bars) and the yearly change (in orange line). The Vegetation Index shows the yearly values, while the line indicates whether the change was positive (1) or negative (-1). This visualization helps analyze trends and fluctuations in vegetation over time.</a:t>
            </a:r>
          </a:p>
        </p:txBody>
      </p:sp>
      <p:pic>
        <p:nvPicPr>
          <p:cNvPr id="2" name="Picture 1">
            <a:extLst>
              <a:ext uri="{FF2B5EF4-FFF2-40B4-BE49-F238E27FC236}">
                <a16:creationId xmlns:a16="http://schemas.microsoft.com/office/drawing/2014/main" id="{1DAE2E0D-DBF2-0C72-9376-514C5528B55A}"/>
              </a:ext>
            </a:extLst>
          </p:cNvPr>
          <p:cNvPicPr>
            <a:picLocks noChangeAspect="1"/>
          </p:cNvPicPr>
          <p:nvPr/>
        </p:nvPicPr>
        <p:blipFill>
          <a:blip r:embed="rId2"/>
          <a:stretch>
            <a:fillRect/>
          </a:stretch>
        </p:blipFill>
        <p:spPr>
          <a:xfrm>
            <a:off x="2226261" y="489647"/>
            <a:ext cx="7739478" cy="4598578"/>
          </a:xfrm>
          <a:prstGeom prst="rect">
            <a:avLst/>
          </a:prstGeom>
        </p:spPr>
      </p:pic>
    </p:spTree>
    <p:extLst>
      <p:ext uri="{BB962C8B-B14F-4D97-AF65-F5344CB8AC3E}">
        <p14:creationId xmlns:p14="http://schemas.microsoft.com/office/powerpoint/2010/main" val="3311155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407F5-1EE7-068C-0BAE-4104FB81830A}"/>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EBBD715B-1F02-B57B-2472-A9B349B819FD}"/>
              </a:ext>
            </a:extLst>
          </p:cNvPr>
          <p:cNvSpPr txBox="1">
            <a:spLocks/>
          </p:cNvSpPr>
          <p:nvPr/>
        </p:nvSpPr>
        <p:spPr>
          <a:xfrm>
            <a:off x="1088430" y="5561422"/>
            <a:ext cx="10015138" cy="963264"/>
          </a:xfrm>
          <a:prstGeom prst="rect">
            <a:avLst/>
          </a:prstGeom>
        </p:spPr>
        <p:txBody>
          <a:bodyPr vert="horz" lIns="91440" tIns="45720" rIns="91440" bIns="45720" rtlCol="0">
            <a:normAutofit lnSpcReduction="10000"/>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Percentage of Positive vs Negative Changes</a:t>
            </a:r>
          </a:p>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This pie chart illustrates the percentage distribution of positive, negative, and equaled changes in the Vegetation Index. Positive changes make up the largest portion (60%), followed by negative changes (30%), while equaled changes account for the smallest share (10%). This visualization provides a clear comparison of the change types.</a:t>
            </a:r>
          </a:p>
        </p:txBody>
      </p:sp>
      <p:pic>
        <p:nvPicPr>
          <p:cNvPr id="2" name="Picture 1">
            <a:extLst>
              <a:ext uri="{FF2B5EF4-FFF2-40B4-BE49-F238E27FC236}">
                <a16:creationId xmlns:a16="http://schemas.microsoft.com/office/drawing/2014/main" id="{A05978A9-68B3-D368-97B6-63A6F1C9560F}"/>
              </a:ext>
            </a:extLst>
          </p:cNvPr>
          <p:cNvPicPr>
            <a:picLocks noChangeAspect="1"/>
          </p:cNvPicPr>
          <p:nvPr/>
        </p:nvPicPr>
        <p:blipFill>
          <a:blip r:embed="rId2"/>
          <a:stretch>
            <a:fillRect/>
          </a:stretch>
        </p:blipFill>
        <p:spPr>
          <a:xfrm>
            <a:off x="3618469" y="289068"/>
            <a:ext cx="4955062" cy="5149837"/>
          </a:xfrm>
          <a:prstGeom prst="rect">
            <a:avLst/>
          </a:prstGeom>
        </p:spPr>
      </p:pic>
    </p:spTree>
    <p:extLst>
      <p:ext uri="{BB962C8B-B14F-4D97-AF65-F5344CB8AC3E}">
        <p14:creationId xmlns:p14="http://schemas.microsoft.com/office/powerpoint/2010/main" val="501143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AB9D1F-7D18-1108-B0DC-94ACB461FBC1}"/>
            </a:ext>
          </a:extLst>
        </p:cNvPr>
        <p:cNvGrpSpPr/>
        <p:nvPr/>
      </p:nvGrpSpPr>
      <p:grpSpPr>
        <a:xfrm>
          <a:off x="0" y="0"/>
          <a:ext cx="0" cy="0"/>
          <a:chOff x="0" y="0"/>
          <a:chExt cx="0" cy="0"/>
        </a:xfrm>
      </p:grpSpPr>
      <p:sp>
        <p:nvSpPr>
          <p:cNvPr id="4" name="Subtitle 4">
            <a:extLst>
              <a:ext uri="{FF2B5EF4-FFF2-40B4-BE49-F238E27FC236}">
                <a16:creationId xmlns:a16="http://schemas.microsoft.com/office/drawing/2014/main" id="{23476D46-81C7-396A-B2D9-CE161E070C50}"/>
              </a:ext>
            </a:extLst>
          </p:cNvPr>
          <p:cNvSpPr txBox="1">
            <a:spLocks/>
          </p:cNvSpPr>
          <p:nvPr/>
        </p:nvSpPr>
        <p:spPr>
          <a:xfrm>
            <a:off x="1088431" y="4475941"/>
            <a:ext cx="10015138" cy="1771476"/>
          </a:xfrm>
          <a:prstGeom prst="rect">
            <a:avLst/>
          </a:prstGeom>
        </p:spPr>
        <p:txBody>
          <a:bodyPr vert="horz" lIns="91440" tIns="45720" rIns="91440" bIns="45720" rtlCol="0">
            <a:normAutofit/>
          </a:bodyPr>
          <a:lstStyle>
            <a:lvl1pPr marL="0" indent="0" algn="ctr" defTabSz="914354" rtl="0" eaLnBrk="1" latinLnBrk="0" hangingPunct="1">
              <a:spcBef>
                <a:spcPct val="20000"/>
              </a:spcBef>
              <a:buFont typeface="Arial" pitchFamily="34" charset="0"/>
              <a:buNone/>
              <a:defRPr sz="3200" kern="1200">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defTabSz="914354" rtl="0" eaLnBrk="1" latinLnBrk="0" hangingPunct="1">
              <a:spcBef>
                <a:spcPct val="20000"/>
              </a:spcBef>
              <a:buFont typeface="Arial" pitchFamily="34" charset="0"/>
              <a:buNone/>
              <a:defRPr sz="20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ctr" defTabSz="914354" rtl="0" eaLnBrk="1" latinLnBrk="0" hangingPunct="1">
              <a:spcBef>
                <a:spcPct val="20000"/>
              </a:spcBef>
              <a:buFont typeface="Arial" pitchFamily="34" charset="0"/>
              <a:buNone/>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ctr" defTabSz="914354" rtl="0" eaLnBrk="1" latinLnBrk="0" hangingPunct="1">
              <a:spcBef>
                <a:spcPct val="20000"/>
              </a:spcBef>
              <a:buFont typeface="Arial" pitchFamily="34" charset="0"/>
              <a:buNone/>
              <a:defRPr sz="16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54"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KPI Summary Charts</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Maximum </a:t>
            </a:r>
            <a:r>
              <a:rPr kumimoji="0" lang="en-US" sz="1400" b="0" i="0" u="none" strike="noStrike" kern="1200" cap="none" spc="0" normalizeH="0" baseline="0" noProof="0" dirty="0" err="1">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Index:This</a:t>
            </a: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 bar chart shows the maximum value of the Vegetation Index (0.8), represented in green.</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Minimum </a:t>
            </a:r>
            <a:r>
              <a:rPr kumimoji="0" lang="en-US" sz="1400" b="0" i="0" u="none" strike="noStrike" kern="1200" cap="none" spc="0" normalizeH="0" baseline="0" noProof="0" dirty="0" err="1">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Index:This</a:t>
            </a: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 bar chart displays the minimum value of the Vegetation Index (0.2), represented in red.</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Average </a:t>
            </a:r>
            <a:r>
              <a:rPr kumimoji="0" lang="en-US" sz="1400" b="0" i="0" u="none" strike="noStrike" kern="1200" cap="none" spc="0" normalizeH="0" baseline="0" noProof="0" dirty="0" err="1">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Index:This</a:t>
            </a: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 bar chart illustrates the average value of the Vegetation Index (approximately 0.5), shown in blue.</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Positive </a:t>
            </a:r>
            <a:r>
              <a:rPr kumimoji="0" lang="en-US" sz="1400" b="0" i="0" u="none" strike="noStrike" kern="1200" cap="none" spc="0" normalizeH="0" baseline="0" noProof="0" dirty="0" err="1">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Changes:This</a:t>
            </a: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 bar chart presents the count of positive changes in the Vegetation Index (6), represented in green.</a:t>
            </a:r>
          </a:p>
          <a:p>
            <a:pPr marL="285750" marR="0" lvl="0" indent="-285750"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Negative </a:t>
            </a:r>
            <a:r>
              <a:rPr kumimoji="0" lang="en-US" sz="1400" b="0" i="0" u="none" strike="noStrike" kern="1200" cap="none" spc="0" normalizeH="0" baseline="0" noProof="0" dirty="0" err="1">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Changes:This</a:t>
            </a:r>
            <a:r>
              <a:rPr kumimoji="0" lang="en-US" sz="1400" b="0" i="0" u="none" strike="noStrike" kern="1200" cap="none" spc="0" normalizeH="0" baseline="0" noProof="0" dirty="0">
                <a:ln>
                  <a:noFill/>
                </a:ln>
                <a:solidFill>
                  <a:srgbClr val="0070C0"/>
                </a:solidFill>
                <a:effectLst/>
                <a:uLnTx/>
                <a:uFillTx/>
                <a:latin typeface="Arial" panose="020B0604020202020204" pitchFamily="34" charset="0"/>
                <a:ea typeface="Open Sans" panose="020B0606030504020204" pitchFamily="34" charset="0"/>
                <a:cs typeface="Arial" panose="020B0604020202020204" pitchFamily="34" charset="0"/>
              </a:rPr>
              <a:t> bar chart highlights the count of negative changes in the Vegetation Index (3), represented in red.</a:t>
            </a:r>
          </a:p>
        </p:txBody>
      </p:sp>
      <p:pic>
        <p:nvPicPr>
          <p:cNvPr id="5" name="Picture 4">
            <a:extLst>
              <a:ext uri="{FF2B5EF4-FFF2-40B4-BE49-F238E27FC236}">
                <a16:creationId xmlns:a16="http://schemas.microsoft.com/office/drawing/2014/main" id="{52125402-00EF-E299-5106-98CF50A898B0}"/>
              </a:ext>
            </a:extLst>
          </p:cNvPr>
          <p:cNvPicPr>
            <a:picLocks noChangeAspect="1"/>
          </p:cNvPicPr>
          <p:nvPr/>
        </p:nvPicPr>
        <p:blipFill>
          <a:blip r:embed="rId2"/>
          <a:stretch>
            <a:fillRect/>
          </a:stretch>
        </p:blipFill>
        <p:spPr>
          <a:xfrm>
            <a:off x="993058" y="1054014"/>
            <a:ext cx="10205884" cy="2513638"/>
          </a:xfrm>
          <a:prstGeom prst="rect">
            <a:avLst/>
          </a:prstGeom>
        </p:spPr>
      </p:pic>
    </p:spTree>
    <p:extLst>
      <p:ext uri="{BB962C8B-B14F-4D97-AF65-F5344CB8AC3E}">
        <p14:creationId xmlns:p14="http://schemas.microsoft.com/office/powerpoint/2010/main" val="33535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nZEjfHTTRW7Eq1_LyZb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Monstarlab 1.0">
  <a:themeElements>
    <a:clrScheme name="Simple Light">
      <a:dk1>
        <a:srgbClr val="464A4D"/>
      </a:dk1>
      <a:lt1>
        <a:srgbClr val="656A6D"/>
      </a:lt1>
      <a:dk2>
        <a:srgbClr val="B6BABD"/>
      </a:dk2>
      <a:lt2>
        <a:srgbClr val="EFF0F0"/>
      </a:lt2>
      <a:accent1>
        <a:srgbClr val="FFFFFF"/>
      </a:accent1>
      <a:accent2>
        <a:srgbClr val="FFFF00"/>
      </a:accent2>
      <a:accent3>
        <a:srgbClr val="EFF0F0"/>
      </a:accent3>
      <a:accent4>
        <a:srgbClr val="FFFFFF"/>
      </a:accent4>
      <a:accent5>
        <a:srgbClr val="FFFFFF"/>
      </a:accent5>
      <a:accent6>
        <a:srgbClr val="FFFFFF"/>
      </a:accent6>
      <a:hlink>
        <a:srgbClr val="000000"/>
      </a:hlink>
      <a:folHlink>
        <a:srgbClr val="0097A7"/>
      </a:folHlink>
    </a:clrScheme>
    <a:fontScheme name="Custom 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52</TotalTime>
  <Words>1544</Words>
  <Application>Microsoft Office PowerPoint</Application>
  <PresentationFormat>Widescreen</PresentationFormat>
  <Paragraphs>88</Paragraphs>
  <Slides>14</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4" baseType="lpstr">
      <vt:lpstr>Aptos</vt:lpstr>
      <vt:lpstr>Aptos Display</vt:lpstr>
      <vt:lpstr>Arial</vt:lpstr>
      <vt:lpstr>Arimo</vt:lpstr>
      <vt:lpstr>Calibri Light</vt:lpstr>
      <vt:lpstr>Courier New</vt:lpstr>
      <vt:lpstr>Wingdings</vt:lpstr>
      <vt:lpstr>Office Theme</vt:lpstr>
      <vt:lpstr>2_Monstarlab 1.0</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hmad Alamm</dc:creator>
  <cp:lastModifiedBy>Ahmad Alamm</cp:lastModifiedBy>
  <cp:revision>1</cp:revision>
  <dcterms:created xsi:type="dcterms:W3CDTF">2024-12-29T20:25:40Z</dcterms:created>
  <dcterms:modified xsi:type="dcterms:W3CDTF">2024-12-29T21:18:37Z</dcterms:modified>
</cp:coreProperties>
</file>